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4"/>
  </p:sldMasterIdLst>
  <p:sldIdLst>
    <p:sldId id="299" r:id="rId5"/>
  </p:sldIdLst>
  <p:sldSz cx="9144000" cy="6858000" type="screen4x3"/>
  <p:notesSz cx="7010400" cy="9296400"/>
  <p:embeddedFontLst>
    <p:embeddedFont>
      <p:font typeface="Century Gothic" panose="020B0502020202020204" pitchFamily="34" charset="0"/>
      <p:regular r:id="rId6"/>
      <p:bold r:id="rId7"/>
      <p:italic r:id="rId8"/>
      <p:boldItalic r:id="rId9"/>
    </p:embeddedFont>
  </p:embeddedFontLst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60" userDrawn="1">
          <p15:clr>
            <a:srgbClr val="A4A3A4"/>
          </p15:clr>
        </p15:guide>
        <p15:guide id="2" pos="3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73" autoAdjust="0"/>
    <p:restoredTop sz="96370" autoAdjust="0"/>
  </p:normalViewPr>
  <p:slideViewPr>
    <p:cSldViewPr snapToGrid="0" snapToObjects="1">
      <p:cViewPr varScale="1">
        <p:scale>
          <a:sx n="75" d="100"/>
          <a:sy n="75" d="100"/>
        </p:scale>
        <p:origin x="60" y="930"/>
      </p:cViewPr>
      <p:guideLst>
        <p:guide orient="horz" pos="3360"/>
        <p:guide pos="312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3.fntdata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font" Target="fonts/font2.fntdata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font" Target="fonts/font1.fntdata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4.fntdata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Goldstein" userId="a1e1c818-97b6-46a8-809e-bbf816f2bb92" providerId="ADAL" clId="{6D5A2845-758D-4985-BFAA-68B9C8BE3280}"/>
    <pc:docChg chg="undo custSel modSld">
      <pc:chgData name="David Goldstein" userId="a1e1c818-97b6-46a8-809e-bbf816f2bb92" providerId="ADAL" clId="{6D5A2845-758D-4985-BFAA-68B9C8BE3280}" dt="2021-06-07T13:00:26.593" v="14"/>
      <pc:docMkLst>
        <pc:docMk/>
      </pc:docMkLst>
      <pc:sldChg chg="addSp delSp modSp mod">
        <pc:chgData name="David Goldstein" userId="a1e1c818-97b6-46a8-809e-bbf816f2bb92" providerId="ADAL" clId="{6D5A2845-758D-4985-BFAA-68B9C8BE3280}" dt="2021-06-07T13:00:26.593" v="14"/>
        <pc:sldMkLst>
          <pc:docMk/>
          <pc:sldMk cId="858348106" sldId="299"/>
        </pc:sldMkLst>
        <pc:spChg chg="mod">
          <ac:chgData name="David Goldstein" userId="a1e1c818-97b6-46a8-809e-bbf816f2bb92" providerId="ADAL" clId="{6D5A2845-758D-4985-BFAA-68B9C8BE3280}" dt="2021-06-07T12:59:27.579" v="11"/>
          <ac:spMkLst>
            <pc:docMk/>
            <pc:sldMk cId="858348106" sldId="299"/>
            <ac:spMk id="5" creationId="{299C268D-D216-4031-8C75-F1366063961A}"/>
          </ac:spMkLst>
        </pc:spChg>
        <pc:spChg chg="mod">
          <ac:chgData name="David Goldstein" userId="a1e1c818-97b6-46a8-809e-bbf816f2bb92" providerId="ADAL" clId="{6D5A2845-758D-4985-BFAA-68B9C8BE3280}" dt="2021-06-07T13:00:26.593" v="14"/>
          <ac:spMkLst>
            <pc:docMk/>
            <pc:sldMk cId="858348106" sldId="299"/>
            <ac:spMk id="8" creationId="{FBD3CA7B-D79B-4784-B1B9-96D28EC128B8}"/>
          </ac:spMkLst>
        </pc:spChg>
        <pc:spChg chg="add del">
          <ac:chgData name="David Goldstein" userId="a1e1c818-97b6-46a8-809e-bbf816f2bb92" providerId="ADAL" clId="{6D5A2845-758D-4985-BFAA-68B9C8BE3280}" dt="2021-06-07T12:58:35.946" v="7" actId="478"/>
          <ac:spMkLst>
            <pc:docMk/>
            <pc:sldMk cId="858348106" sldId="299"/>
            <ac:spMk id="10" creationId="{722104D8-6F34-4790-801B-CAF44F89683F}"/>
          </ac:spMkLst>
        </pc:spChg>
        <pc:spChg chg="add del">
          <ac:chgData name="David Goldstein" userId="a1e1c818-97b6-46a8-809e-bbf816f2bb92" providerId="ADAL" clId="{6D5A2845-758D-4985-BFAA-68B9C8BE3280}" dt="2021-06-07T12:58:36.865" v="8" actId="478"/>
          <ac:spMkLst>
            <pc:docMk/>
            <pc:sldMk cId="858348106" sldId="299"/>
            <ac:spMk id="11" creationId="{9ED2EDD9-E367-4784-B3E8-3C5DF2E0AE61}"/>
          </ac:spMkLst>
        </pc:spChg>
        <pc:grpChg chg="add mod">
          <ac:chgData name="David Goldstein" userId="a1e1c818-97b6-46a8-809e-bbf816f2bb92" providerId="ADAL" clId="{6D5A2845-758D-4985-BFAA-68B9C8BE3280}" dt="2021-06-07T12:58:35.367" v="6" actId="164"/>
          <ac:grpSpMkLst>
            <pc:docMk/>
            <pc:sldMk cId="858348106" sldId="299"/>
            <ac:grpSpMk id="3" creationId="{E1DD4E9A-7BC8-4ACF-B9F2-7A6BB4A9B746}"/>
          </ac:grpSpMkLst>
        </pc:gr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99243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24800" y="6400800"/>
            <a:ext cx="1066800" cy="329184"/>
          </a:xfrm>
          <a:prstGeom prst="rect">
            <a:avLst/>
          </a:prstGeom>
        </p:spPr>
        <p:txBody>
          <a:bodyPr/>
          <a:lstStyle/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678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115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3" descr="6C5092EE">
            <a:extLst>
              <a:ext uri="{FF2B5EF4-FFF2-40B4-BE49-F238E27FC236}">
                <a16:creationId xmlns:a16="http://schemas.microsoft.com/office/drawing/2014/main" id="{76CE78DE-16C3-4CC1-AA6D-040D7E66CB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530" y="128016"/>
            <a:ext cx="1630070" cy="581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858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accent5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rgbClr val="2B303D"/>
        </a:buClr>
        <a:buSzPct val="85000"/>
        <a:buFont typeface="Arial" pitchFamily="34" charset="0"/>
        <a:buChar char="•"/>
        <a:defRPr sz="24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rgbClr val="87A634"/>
        </a:buClr>
        <a:buSzPct val="85000"/>
        <a:buFont typeface="Arial" pitchFamily="34" charset="0"/>
        <a:buChar char="•"/>
        <a:defRPr sz="20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2pPr>
      <a:lvl3pPr marL="891540" indent="-342900" algn="l" defTabSz="914400" rtl="0" eaLnBrk="1" latinLnBrk="0" hangingPunct="1">
        <a:spcBef>
          <a:spcPct val="20000"/>
        </a:spcBef>
        <a:buClr>
          <a:srgbClr val="E88E4A"/>
        </a:buClr>
        <a:buSzPct val="90000"/>
        <a:buFont typeface="Arial" panose="020B0604020202020204" pitchFamily="34" charset="0"/>
        <a:buChar char="•"/>
        <a:defRPr sz="18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rgbClr val="00B0F0"/>
        </a:buClr>
        <a:buSzPct val="100000"/>
        <a:buFont typeface="Arial" pitchFamily="34" charset="0"/>
        <a:buChar char="•"/>
        <a:defRPr sz="1400" kern="1200" baseline="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.emf"/><Relationship Id="rId5" Type="http://schemas.openxmlformats.org/officeDocument/2006/relationships/hyperlink" Target="https://datareportal.com/reports/digital-2021-global-overview-report" TargetMode="External"/><Relationship Id="rId4" Type="http://schemas.openxmlformats.org/officeDocument/2006/relationships/hyperlink" Target="ttps://www.mekkographics.com/social-media-growth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24659-97CE-4DBC-8A90-274D9084D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08670"/>
            <a:ext cx="8229600" cy="990600"/>
          </a:xfrm>
        </p:spPr>
        <p:txBody>
          <a:bodyPr>
            <a:noAutofit/>
          </a:bodyPr>
          <a:lstStyle/>
          <a:p>
            <a:r>
              <a:rPr lang="en-US" dirty="0"/>
              <a:t>Social </a:t>
            </a:r>
            <a:r>
              <a:rPr lang="en-US"/>
              <a:t>Media Usage Growth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2104D8-6F34-4790-801B-CAF44F89683F}"/>
              </a:ext>
            </a:extLst>
          </p:cNvPr>
          <p:cNvSpPr txBox="1"/>
          <p:nvPr/>
        </p:nvSpPr>
        <p:spPr>
          <a:xfrm>
            <a:off x="6392917" y="6489709"/>
            <a:ext cx="24060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hlinkClick r:id="rId4"/>
              </a:rPr>
              <a:t>Learn how to make these charts</a:t>
            </a:r>
            <a:endParaRPr lang="en-US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D2EDD9-E367-4784-B3E8-3C5DF2E0AE61}"/>
              </a:ext>
            </a:extLst>
          </p:cNvPr>
          <p:cNvSpPr txBox="1"/>
          <p:nvPr/>
        </p:nvSpPr>
        <p:spPr>
          <a:xfrm>
            <a:off x="402970" y="6489709"/>
            <a:ext cx="60944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</a:t>
            </a:r>
            <a:r>
              <a:rPr lang="en-US" sz="1200" dirty="0">
                <a:hlinkClick r:id="rId5"/>
              </a:rPr>
              <a:t>Digital 2021: Global Overview Report</a:t>
            </a:r>
            <a:endParaRPr lang="en-US" sz="12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F0B1848-BF22-4DC8-93E4-49DC5E04E3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1215795"/>
            <a:ext cx="8229600" cy="685800"/>
          </a:xfrm>
        </p:spPr>
        <p:txBody>
          <a:bodyPr>
            <a:normAutofit/>
          </a:bodyPr>
          <a:lstStyle/>
          <a:p>
            <a:r>
              <a:rPr lang="en-US" dirty="0"/>
              <a:t>The number of social media users worldwide has grown 61% from 2016-2020, while average time spent per user per day has grown only 13%.</a:t>
            </a:r>
          </a:p>
        </p:txBody>
      </p:sp>
      <p:sp>
        <p:nvSpPr>
          <p:cNvPr id="5" name="Rectangle 4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zkBhDvReZqbGLfQB3CLcY1XkBZT4Qc7Boa3AGle898Ady+BaGGoic5rFHKvIqkRkwyMdw1jDyiWItLWuuSdJ5LZdpGNhbq2RDTIBgPB1UskYUIfuGyLuOmqpE8ADVBfMmVyG2wRujKkO/McQ+4ZfybG9tmN1OYIupoy/5stprABgOHbAuQNCG/WzUTr5c236M15D9i0MJcc5lNu164LX6XKvDmgpEbn0ZBlmLtLrC2jdQdpOSYMLo5sqA4h9I26BOedR2BtruMsGmdPhXojMCmvOEPqZ1i6X1fOCGG7s4mHE57xbLlm1XrML1SjFne7DASdNxOjbajbRrM7sHIM9qbP5KPezSyZdxX4fcjKnlvo3W7uiZ4s/83tZtBCGL8ZyNhee0I0UCD5vFbyLDbyB6BDQ2+4gN4tWbk21uYAJsLHVR717JqQKz7tSe/FPHnGjDIrsikaFjrO9JBtWVFYrnurT/Jxj7qdGffkmy2ubIGA7uGcUsBNCHFZcDRBkyGJB4Tp2UH1OgYmDjMQHN2sgpXmuIeYYkMqEumdJta2w4iByn92B6ubXUvukftJy8NXqfKbLO02w8EOYugJzvCFswb9hYJW6AOny01DEEDQNuW6Sqyc9lyz5prleO4+u/tJdtQ/PSUTP70Xi+iVvapjuJhtGR5zB0g2FwN1BO85EeFO7Nb6ICuURWVYIiqrt82rQJG4MnAHC6O7wz6DnhDILoGx9+Tw+zFVz6WBoihv1uNMuDvJK5ppxTAu6FfxzpBlCjMy2E40rMUt0xpjvyCsornLmIH9PB73g3404rkuGoA18UyF8Qg6+cbjzRRw1760v+gcM4D7g+ByL+/d7Mqlb3wXM5E8GIqgkgBFIRXJhSmQy9qLqm1fRvPOsmIXf+ogxov+eCkX2rnxg2n6vjF+oj42kz0qCsLk1dlpPMjuLrZNWIuZe2on8nVUVHCWVu7g44zr5hZ53wi4F714fniPXtI0mxaK4/rX+Ygai7hUHtPrQACzeoxJF4Dv+Cb9PqEszOIfzBO4ix0XUJb1HSXb3nGzAzisxWhPgV7KcoF2njm8cpyvSUTCAfRPMpVs5aGL64T3O832T5TCuGQtHNIymfv7HzqlVpxbqESjhRV4edf+T8RRLiqlKy9wwWr9iUstJogI98OZQZwnzsWdT97Ovp/ovvUkrw62tvgMMOjuGCOmMzs4xTHEHoq4vOBJiSABxEZSS7/alW2/JgY8WTP0ttTheN5qkZ+7Z8kn0dNPUI9dKAUYtv0kX6TLjTFN29fYfy4UYsljqvg6YtgYXcsO2YulQEiGVZHvmisn2UduTO4omrXDCSMmbz2qCWoRZCj56Q5Ilg8lWu+CouCDmb4Xy9Iv2KSh2w5Pwgvp05mKt3NwsS5Rd9ECV2OZ2gM3GKipxsF6lfOmU2lZf9SGrIDGhbvg17n9ZUbgfx39asJxM1uWMFttj4C0e5pI47aC/0uAr0OsM9RlCPjNmbDWeyt5IWFycogqUUMp2aYadk8miDdXAzhbgz6rEoDbpu78i4hfydcahPVRY37xOHpdN031HpdVwfADgcDH5Q0w84oszwI2SulSq9HsK3z2vZYQKeXdAICElAYCFV1J+87mOjzv1b4c3cpTrwopOcF4mjnLPdFGR+dhT7jjaZc+tS02cDrMYCgbSDeRkH5/QKe9HJU86/Csmg4la5XVu+DKd6JIn/DYyVwoUSX9rt9dp7nOyhY3mXsAsui3rQ3sDTmgPhbPrssHc/ea1iFTHiLN6yNXxQa07I3s3CVwVbJXMjYU/O+rvniUIaX6kuMGXob0WPWPPdEZBWWFOHWc170Aj/pz+a0WqxBi90AK3IkJtum6Ar6UI484AHd4RYdUnih4KFgcRteYMpXny6GIOAcrKj4iaq4UhD6nm7dWX/vm7XIUVj/qFBxBpmGmaSZ8tEK2Khd+q4/qQT6RJOwgMlYkqBeWQRySMXUJQ1SWSTu7wW25u/nDlUzNawcAVjf0RFdCzvVgn4QIgjFKMI1GQlY9G2WiJ8DYlgFfijpCHSSWh08XEQ916P11nd7mKoMKzEgD2MCB13s14q0mS7FYvZijAPt3O2lk001lqBABY5JHScYOAA6B0f1SpKpAHKzdilmBRML6D+VvzLN4vw8pT285HjhvcxN4iZ+QZ2uZQ52LLrHcHL5v7mjQuAo1qIKUHx4WLEcuc24MmSE96OIuECk/PasMXkiYY9VbfXDEQfk4db9RYkEumeLvz30l/nOtNJu7Kfdlt+B8/vCPFkecodS6SKGHuC5klgvwbkVNtNCADc3nO56esLdlKqv1GdCHPyC+EhRW4RpY1gl2VBm4zXap8StmFbEpSQH5A4fngMBGIzJuw1A8mLqr7VOXFzsfv2m6PqXKKe5JiZkEzYDKe842mv8sdXhxdQ5VpVjCAbTvZURa+xRJ8AHY1H1jyIChT4928rSt/L0yWug0lCVBR36xZAhvFRF7M9w2A+8WH0rcFIA0ExrNtep14N1LYd9qEVOFmIHLcMRy9cDO8eeZzCkgdT4FJAMZQVaIFsNG6COGptjdZ788fOYAIjRcX8xoCP1yI1hl4uwFOg8yESBj/TS0F4c1gNXrQc5zcl7gjo/aigUaSwlcTd1JOVTFnbeyyUvnSuBtMBVz6TTf87dNS0XXjfJbx30o8uSsYAWmDnXoB6F8Shyq5PGKuODHmZwshU91Mme6F8uXR549pcFZGYqqvaexxS+nYnuIfKgk2g9AxibQboHsMlWcVOSTbVX3y/dZl079UJADLlT/jYqsoDrIGD5ww7hUzBCRLLbLzC+y4Cxm8CYhzaGIQmtmMDWdRjhQjyDJbvIGZBF3Oddt2Aqi2W4aBoGQ1M4T5yIT3P8kiZiQNLL65oridt2ioyky1vOCkYuNSxQaiK8G2RjPdDGO6NsDgIAbG+68DraIx21K+pEfNWyMQIIOwB23MOY4HsqjzB4XbS14EJCbgzMBm94Mzwkybjcyddx2Uf9eX8uxqJh65csS/xmR1HFQBOA1S01/vkHWiV6+JdM1lLbbZEPtVDBKviPx1VFBOdBh6OcehB/56nePG2TwDGdcMu5xBSF2Z5eQEFHs5+lHqFdWUziYs/mw3Lqr0OHvybiaRLdGwYZwRRSv8LUHArsZ5QxMs0YB5gOwaNPrPlx2nr4VKotsESsseePTUFZIvDbLGZXevvj/OtxzXwoPDwvkJ141KC3UdvHTpYRS+lpzvzTVuOsAY5vaz9nGr59/ReGi8HlA7GJQbj8i2Gll/dv3WO7nuzZyH1mfGR228JzjeKCw1eBJ7zhuY7EmZr2x2btV6YalUUv9yY8Wp3PtrDxA0DH3WxlMsd1loO6hcDYnHy2otvT3a6kDbndi0GFlDeG+Tx8arITAuf8CCQfUcKU43MbC2sxYvUf9aAmB+HFH0/6g60FXCxmgEZ4x2zi4nL406Fgldl1a7cnd0MqSzi1BYSsqeBjfMYxiD2gppoVpHiqfDhg/tuNiQd2fZzUkEdFVhvBQ9O5veTRpHasvAPmRl9ZM+yLnaBSbHWkZ/LBBHQbEd03LVuB0O/4Kw6bkuPRiYnK3oP2icbD2DmM4VDo9iLRSuuGPBMdLLt+u5XosbJnrKGbamYbW792K9+VbGu6is3rGfrAQzc5Zrs7r+H5Qov7WE4U7enB1tgt+U98NoSq4mqgD61+41PcJdB5BfBaXUT8FFnkNuQs5mOxwLS2XXbW6/3XwufXbJPdUwRuuTC2wR1XbJAnPEYp0di/YheJ03HBgBAUG3vV/TmnfSACHq0H5Mf095Tp8kiAFPtWaoymdBUSpxd1yMTmwqUPiipZQ8lhFHn1MMBNDOpPNLM4VvzmkxB3zGfbcKx/luhQav4kEAl8fT9Q01lvtVKGxiklm2eknlZvAw4mhJNK8ScsPTx8PYl3HNbZ7vAWNOxP+U0MdQRdLVd7SG+rU9ybaAN1Vg4ldwATpUyL6AaQxlXcSJinj2YMKksTEMiEO1C5/qgfhyc3eYezcEZoGvmyPJe/c0nRUFm7DWt/BxSNWSuqw7y4sVAbDjBxeeX06JmNOcTEWYbcIdvWYVOU5EctgsohZcLsIAIIABwr1thHzO/LTEutXEItdoqPr4My4drOEIxmAMZ9AuDTF6Vsam2voZuo5b+Vt6Jimcv/0eQ8golABfBGJ42n8hOQRTAmG70GKP2Z3Es3ODtp9Bv0f3o0/CqPB70yL5x1T1a8GRCJBA5WDGQ9486oXAapAvcWHEmQmUx0cYLCY/RH9x5g+LvVNUbR62oUUqEMNAwHZMvLLWCxzesil9k76YkgiWCFjz8VEtB8P3Xog+l2GghNnj3GrfTj0ZahQu5WNNzc5cWcPJP8U8nt8ZR8rNVVv7v1ZBz8wZky6ZOnKa+Oz98qSV5cldiR7NMhdiOe3fcNsOXMNkMZeRdAHPunvGeiOKMG3MIU+nmIrV8fVQbFiNzC1FZjDGelPXuLLKjj152/+MO4TUBP8XQ5xdrtGgIMcvhc6v/smBsUEbJeXx3wRFn2z/zwmMtoF+VmO5sgkAZnDgf8TMgv39tgGZ4k7koxu2GOyoPCC9Vq+ZxwynHhqB9aGXPt2Gw/X0O6WLaU7ZhorHAehMm6QzA25jndwrTbs6/4J5QTIxxYXaYRmIYNkiejVDb0IJXe/blTv0AgRG/FllBcyAgC19aNudGYwL/09g/wDE9AhPFypHhzUwJfpb4e6gPUIazm6+Zh0KACPMzGQU8lgBAtaL+SeNT0gMtPgttLKONOPj4qr6CYb+y1N8lyhAfxVWJhub29yZm9GL+rxoSvbVV9fJTibFn76yTeN5KmHmySzHm4jo4WtUEzU6YzquCKmDBuiTMZn5r9h6JH/hVgHEDUXeg1463w2dY1R/TL1c0nNLrPCiXnHfKCGq98d0TQVN9bhaKeMrUHjmYXurJbwWJyKJbSGTuaOiHxy85rAVa+DIzF/eCBemLEA4jLc5/NzJcH9PNeL1uhj310SOw2VukvxDmQLyFzcPkd+CVDpLE8aOgjmMuS87SoGF3Ke/xAt+XX6fmGSQo/8XsmbiUEgTxoa/ZbKiFeqj97UhpuwSuwrEzPJhti3HPrNeePAaDY0JwOMYmWCmkexsNgAC7UX5NzeydtK6b8R6POKWWiwb2KDIExtmkuXiZ17MYONmFeHxRBG5kkeDCSdEPSOYgPW/7CaLxZ03p5eOoFXjXWIC9TCzhtehDbqzucr0j8pg69yxK3FoNXvqPtEJlbCHOpD3Dx60fYwTvtf7y0TxfDdX/wwPPnRzCVnpr2tw7dpOyI4ext1FGkSpPSHK3konuaLWDYnkJKMLvqpz+rU4dwGnlbGPqkNSmfAvGi+yu1VSpAxliEk0M8IGh/3daw42pn32yNqv3ng0UI7Icte7+X1CERu+pgHp1A930j8BcQL3OoKlR8vl+sk+sMEwTFhp+Z7A+Wwbk61KM2ac8JeNNqzLn/LyD0TCCvtsxyO5txYtuEvoOjPinbGHKvIPR8aJYCrHPPi4xXrXpJ7VPrwVd7LE9Lgy0b82YQhiTH1nc9IFwCWlTsLaO98IYACKPVgwk19RdB87x7ueapNaMuZZbt4kCYOGE6s95IeV6xLNiTby9b2zA8n8WV/r1RxdW9toFgeFQeadR0sR3iPCphs3hmMI5XspaCn3xo9mkarqjSKtNLhJzTZbgF72FEzDbeksf8kBq2bkm5hNRuLvGqyPLPxsJtpnKC87A2IDBzlP5r6pq0NcZMmDMgps8iZla7I4UQuIH5AnBUFduWp7HWnhkjaycmFcaAj0lnRsB5dxzrZkVuBztvZIM99OlVY+LHUkHJ0cah9Ubdr1DyL46ogAxohy/TA/Y2gkq6wLM2NZG5I1V824hctQkHVZ5BC6kt+xNGgyycQF/1iU1pdG5/ZPcgqZNLEGAmbj4LB/hhm27hUFXD5aFk5+mh9EQ8Dxq/Xewt6HLrbsMex9SoxZcge4yukNmWtEDHyfi1a2Za0+BqnfIUFFp9BPkcXctt59NzH5/0dD+x34bbptygAF80QHUpwWxNHBoW6DcGpPAjZfJaBb2B3SSFh2WBm4Fib/Boka0rKTNkPjBM1mcqCxdk/QuwBOzyEfBopVyQi9vBCn5ZtSe4Xq7hrGpiRIka4PK4Uj8sABxNrme8WxBlCd6atouByvvydQdA6LbJgcMN/8LqEVhM0wsmlRoKfUO64L+st0L8qc2MPeuXGTOsm3XEEPqM3TvbFtSBwR2nXy23tdjf4yQznbM7jmIUsJBMn8nzHKemmomYIi/nPxjZqmk5Oj5P8AOc6TNvHgbRxz4uz0dvkgxDEqE8il/xU5/0MhfjWiJAk/yy39BOw7xqZcgZiuNOg2TcG2/lOymv+6nBwURcR6wB6sueAfL07Y0uicG/eO7wV4xOjQCe6DSipu4ZmD6oGBg6BI5t8MDx3ILcpRurtrhq5u0uBgosTRRl0+3Hhxem/b6cu5e1CqdR5ZTRTmVthObiSFmzqxXcMCQn7lNvvJ6borW9LCKPmyAiZ1BiMdG6fv1oavtBYzo64aqwrx/JmBemDMtNhMDhK4qwsxqXsMjH+CblLXfOq9VKKezVf7soQhWz2sL9VjTaSd8/ZcHHgJ9sGUG0RTa7BZXGURMr7cX+DnMwlps76QNFodClq8IWLdMu2arokEHm5El1TfjD5pIdXetnvp5WWm8+n+PXxWlOQKDUOsbhT9Q9EMLdV6TLtabw33oKMI12VcZ1GuurVEWXvglhuUZf2eI9uQBS+9IJLQoU/2vZMoBZ9XHIIazX/iJE7S/3k+u5cBbTb8w42e46KGY+rnm94YKRYywTNpC1hnq3HfHaR+9nyBZ/25Jz2y1E2SPxAFyhovzBPYmVlmcpTiQ01YDZlnb/LY81C4gSn+nX4QAFvenYWN8YDNBqCDd4+bY/DglRYAa6q7c6ZEmefVl7W94YvVdiM6WrexvLgqYsUq4XTpdGbzzClA65I9NwqjZaZeSiYd7lx36nHAjsu/Y38b2ntkWw35tFE5l74xJySJcygHRbMyjc4y0eCiZG1J9RypAwqFrRWXx+AzygBjzyWM2WK0JVRESQ6k33Z84wz7qCE5zSgR5RuXyxgHSBREpxY0cM+6J+YyWWJwM/DnucnrQVIsM12Xm/G0sh1VYAq9X5HUO+WSrL5o6o4UTv2kolYBQIPTPczwaerH3AB9uwgC3BErLiiqZbF4UdFi13WZ9meu0Lt357o0J9TDEyb72XW+7AK9PNOtn4CBCDQBXO9eaLlmeeV7wOMUU7yx3HhXh+YM7KuvEU9FrLjXmJH0dWreBFqvUhQexhjQXu2KIK2plAcFKp5nh5flPptHpEtfCqieHdZ3JT1m5GfBstbPdlYAE2RJ/2p3llmHZSDpEJSNb9xY+tRie8layj5vzFX5LRPJL5tctKh6gosJET/de3SbS723HkSBkuARieTRyVUAGNWQq8RZmMdvtncmEviInuoznKKWGzMJg1Ws3gBtiHjQ7cAMsuXusgabnGgFrLUXAfhDky1ce6lGgwzvBc24EyHUEPKY/r7DQk6nd4UYr52iIhrRYJwRuh2brwsPSSMDIpeSaxah6u3vtC3eGWgAn4utRV3J34Q2DBttUIUReq3rZBxpVdg7jUg5pNZ++QTW0wXHFQHoZbWwWfQUjElKmyM/CQ0l6uLMmxOK9vd2pCJOXjgntstwlnQqvm1dSLfBDBHV9b3vqMlofwKz4AkCmCgyvEVytu5i0zseTq3etfqvpHumaulJIDsGSwHnztf7cfvJlTLhZMIR2hE+YulY6/Ku9Y/URXpDqM6rarl3yqsSITs0xsiQ8qNgYARJ+gz43SS3ILB25ve9nxttOmULkjNozBJWA2ecrBe3WBwgkpGDhdGwl8Izw3Vlz7gk+zpJhi9No/ivUqIYtQ50sh0IAfUEnQ4oUE3KnzmOkJzd96EWcD15fjCBbAMXwnH4RnXn6LKgxzr58YKt9T6TRdRqDDKBsqTr+n0eRcdu3jEDESD7MMA7bHwFBHQNc+LrgwF1uRnba1+Gdd2/JWeuzl1i0wG4zKPRmiu2U61pGplruG2xJ0qrDw6wOnzDMLxezL4txVRO/Oj0Xt/xVZn+RnMIHhEbhtAcpmm3ul9gNNVUSJtgHmLjvWVnPFQ77IBLT5Q6fP7/O+Y+3v+k4t6M2bRBOkjEcKGGB6/xQvPWyTYFhcgjK5F6qb0MBmIO6Hnl7khkKU78Dpu6UdQYKnghZKNFz4gFccBB7YDqvQiq5a8wfXLt6Y1KL9ExRIIPpczkEfISLBwEciknV4j+BR9VDHLgwONRzdAP6llUME8llJRFau65KfRz1VRmEn2gsNmmrDOS7uLgvwebUIyt1ffcuVAxgwR3dyD55gCwEGdByzwpC3ZGiSdPv2Hz15Dy/IS6sX7xCuYmXc/cLfMPX97xM/I4HTRjRL2FidqED5gVAUmOmX+dAZtaIkhn9pRgpOQww2lloq2oZvaC6hh7BZP9MhQnG/Z8ztZGnD/YCE1LC3D41C41l8qjLoqY4UbUbUaeppgoV6TJzPD+HV3beJB/2cll0eI10fJbtwT97gA7CF+EIfzizL/9Iccrutz7jxa2a3iGIwEDRob6dsA2wDJLnZhfGW2Ac7Hz9fdJBSWvMqgeyT3/KP+8SnziHQZ1+GIwa+kUm2Dzyekc4RpFAMqo4oYCcoISuUMgD85qiFF+LWf7C01b+L0ej89SkR2Yhc9bFvgQB9XTlEwr1kRwsYx70Y/hV3I1Nwln1t3TNa78zyBxbMdjh6p0kmxnWzZbRT2OmKaN2+3FuETXu1OoY8xMVYjfGs7ho5y4odFoYrI12hE0/PYIMcznY5Q4kiiqTYlw8SYM47RbYL93DqCH1x84Yo6x99Ctwj3B89c97e8jJxBkUjiTBj1oq725w7iX5HDKmKAMvi1r0//krwV8y+EPUW0cQApGzfLsKGxBQQqtVHtdvZlyys8AHsv9YzXfladDkKRceXGoeneFWSbrjeKLJc5pShjg6D4A4vr9ofA2v9Flnr2BgCQF16EMVt5iNCuNYiaDDKzY2XxfXBnj7v8hy24Zw9w5mgJfa1Mdpj5+0hkh0VtNcqdwFbSXbAFApzQGMvk/JGM/P1bfClpM5+sZW1aY443bYFS84H9nn5QNplP7s3XgVPCj51cwwW8lk2T47Q7DTBwC13fdOrzRNhIntb84cV/VSuM0pqdm9Z/2ovdVnvlJUOF5h7fnVsBOtCzhHAev5aVEBtBsX6Ba5RR8Y+IQOXNiPFA8hiUy07EMbrecZr6EODIqK96iGTJ6aLkTFfze5v5cE+kVxqJerFipR3ZTT8X7n+Ca0gWBl8WCSn1pUVW2L2MZHoW9QxPFFGAOnlVkEQt3HnBBD/vSR10OVNdaMMOfZzWnHi8lAKrgk4n+J29Z77FZIBNeu6r3DVoKqtiKXQGSWJjNiuLW2o+6EAWz8MS05ut7/G5oYicgnA+vd29/4UUC5vZOBrjp4StM7bNt6RU2r0XLDFbyxbnJtFt0SKcTSSU8NooEJcsNgO4FGNeaH5B3uFCfbOs6tccuGZKqip1u493m9zVjbks5vsa9+mJmL0ynn7Lqk7puHxjGbZ8DZdDJin50ysmEXxRc0+69UQdwCjp75Q4GunRQuBmuBAQrkdATaQwjrkm/VYaOYa/azv2asSf6+K54raSOzoX7w9pM59qR8hiwjdnWt+92cN8bevjgo6aqEsx//A1km7z6slOLBH7uV65MO7eFDqumQJoWULI+hKhLfSuxWXtTJ0NGUqnePjh1nyYc3pquRJMGvOIhD7B4Y30nqAhtNlkT2QqYuYooDnmzHz7RjEwifKLKskpooQFtSNruM9vrpYKQ6MViWz4g0VAq01Im5Vsl1jSUt9uKdfYpZB41uxV0++OYwcj5j2RtcHyzJq6o+OK1H1gm6KZvxG4bQQE4HSewMQe+HIZ6Kkq9Fp9f68LhxocSlvS1sPyLXhhBydhV2xdIL4g3dpL1K6oCx0xR7M1niX0l9ea6GS25KD8JryLJ87dcbTKOsXs6QGUiUfuSXA1XpSSRcyL4OU7SgWj81NaiwjtZBCE4pjcjW6aNYNWrMt55H7aFhQmeMTRwAXsejb0BNKG/F5miecRu3PdxDWLSe6tdS+Qa5/3XHXDffHZZ4GXQt8ZF0UHpKtDwAoWET8gWX2d+z9JfJuSpXXO2MyfaDsMTwo641F5M/TQwaPXdayYpZXBg6J0sO4tCXJ1CS8lDc7XlFaB3n874+oEEWA4mrRsEP+R4BNQG5HGmBrzDDFa4Tdas/uEbnSWGZ6Q0vL9GZRSBnNOw0CwGMjwycBQKTwYFLNjLW32NUbuuXasdmNqrQlYUvoi2hhyCC0FdF6LzURTsl6QjePw5dGNF0wCu/59A3UxmjMPQ4ERjHLrATabbwHIeHuiot/FQVKnRkS4JapwM1g+hNgw3KBKSrFiIfVkfLdnItFUOnZ6kPf6xM7M8GLVJ6meKLvCf4j2LqSfoU59xhCM7Z31hjvth1VUe1+pqSE7EVc+q6hRwVZjG3sJaCQPFMG9Qa3YjltrIqk43WUUhvxth+6AXD3JfoY/4wOv3K9XiES3rtME+FDYdaR9Hch2lCEVw/Rkb4UzsQvd72xSS64o6hAA6p9kIPwH/wK2yPwNoWnt8G1VhVjxFHYgBegI2tDnPSjAqU1r+xrXngSCkEGjaMwpU/5RpdecVmzW/s4clS444ZH30CRJiCOvHb59PP3PA7ejPHSx0tLTMXJ8fdor1xvj03EUuVFPFMOcGjAWhQ2FCEH3fDh2AtyJYlAqTanokeMk7Y3u9pr8p50td9ie4Lgv94BV6K466Nx6jBdM/cHPYCjggttigS3IzdmqC5iPq3HANhUBpvKxFKy1ekYYEFMO95taRfNDletjfigXyRh5Pv8GZJ7Q5s2jlBXiIpjPy1cbf5iG1D8dDiIG4bOzO4GixlO/Cbwms14v/PWC6/9bIVO/nFtkhAzY42bhtJvlhGPrxcfMuZRXN+8FJLIFmPiR+G3CF8/y3dEFW97LI6Y9ZoOPfz76CTPgAu1DshgvH27W8I4Fw5bkU2Q6QL7zGWaj3bFgYdly6Fv0TrylkAEFka2ZezHnIc3vCedqRKf2YNzYEZ4ayhaRdsHaJ2TXXgf8V8PnUDZcNNslfv6HwJCvmOiQBWLuRbIpICt9UqfO+YwEhCmFXxiD03r9QwYPYabHDltsQmFgGo0v7dtIAAmj1ibptDtNckzY+7XGpX2TO1Z2EHZe59UwbEPNxMTP+swVAJV9xlKGeQvW6T/DQc0gPkGpSu4LK81Eb4THJ5Ndn6sEN+//4cMBFWaoeydBhhJk/Ga/TmG5C3i/hD2/F+TnzIZcbByKaOOATwHh8/1mTGm4EdgEqoTPJBpJyy+gYQCJQeJWQCbFGZVDo5U4YR09yZZSGCCgWsk5rkroiO+xxGTyFrGoCX8HVldsDwrU2fb7WP1LhjXvDBdpGeB5HttuWHJHeQP5NmigwJ/keqc96AyPYTHR83HES+diQSYBAILdwRZcopkqOk/hQL6kJSiPxYtQ01Bqvaq+D2XLFzagL/BpeyZ2GAtpzoWPA2qkk2L7MdCps6mfbL5CW2uwEKQ6WKklYYu532zPkEz0200fomBizBEbkAJNlO9mNbV5lQTZZN8Davi1eZWpkMQnjf+Yp4RPRGfMqMlauU6+M4udl0PLtkO2/AxZJ+NoQQnBCcf5nR1JAroNC2IkiqKk+KdR0ZAvd4nK1znoGbUiMbAu2aPv8s6qtDQTdUQwgxRHKKuEQ4kNWE2fHIaDDHGg9iCUFlK3COvmCPgdGYmxAG2Nxl+mvhnf1IeHynZERx6JjdKgEFeoF6znHWnPaHDyzsbBmftRs4TXHOVxL7AlRoxsMiGrwA30ls1X1aZbNhlKBdw+dE08RpTuOHi75eyMk1HrrrsFgIjBpCmhyQF5jyadTfEPHo9DWSx9mz3Fn/yJrCOgQS1kEjcTgwNEVm2s0j161f/o3W1ypGH2d+Nx1+sSvjM5IlfHzp8tvh8qs6wbaDT6S/UAMPRWnSSgIiL07BUZtuKWQk6JTAR0bckF0eiK2Rfx0EXt03YN5voPNBRlWiQFw0oSv/DjMxhxjXdCQU2+i8l0xXCBJ6Xck7GhSKtePshfGqWAyCVc6eJ33ms0esmj0hddtijn/oJahvNGZOWcUt6Hceu6RWePih/Ye8TGBNdsbYvve29xl1kHiLRaiOF0oNLVNzJzwP4ACJro7kkfRAs+ukJ7C1s2hycMLKZy66hdOoENdTyzz3JkNT3e/tzfTD3LopEdHZzdDcSh94gQeQX3VjiAfMDanPIc+6ux2TTvSj7DCwRpcXH16yRlB5XlosEsjcb3DXdo5Smhy4Z1mMr3Qa2VIJjaJJbjo0IqXrJ2/d6AORTmuFDJha7BsHteHL37i2KoCRvA0a5Ssn8AKzfTqUMAya/ugL55qCHEEFEemxyaUJKqp3wVg6RB/apAZIxTY8se13OksP0LNwfyyZpREUYbVVENDwvG23AB2ZDwBh06s36E/oQov9S4azac1OgQVC/w77U8gbFvRBGb1xopf0SIGTpQzEcSoQFAIdACVF3Dvcbbc/+qtwzEJQ2LgS4D7n9tBhO11RJQDs+VdjRvDSbYjSoK6pK2qYXCx+p8exnwy6cH1SU0zWNMsu2DIS86UKCzOyizF8O11v0yVb9hNKCr1EzhNd7uaCYfJx2lm6aXLcGIJQo2KAGWFmEJCxzjo5TMzePHR674hEPDB3JiqqVHv2MbepDSl16xOe1r/8pCoAVuG+c0TswQZhLSfNj1PhYclILDP4cqalS+vbGdYlvImRERO4kqEzvQqjxU1P9UMfma0ye24vfNpC41pZhOfpg2GhaZoHLiCX/yaps7u0KXBK0Ljn8HZYLaafqEqfupkMY4aLD0o8YJtD9rA5WOtetC03TdMuuP+4L4xtFmI0ddT7ssD1bYwak8k4hgNYN6sQflzNz6sE5cN2crUfYuDnPbPFRSBjzThenJAvdsmvGe6ul1FHaNBp/MPoZlCW0gjsuwEs7UcWL8dA7LmZfEVYa07QFw0qgOZhvuw7s3/qV20kqf+9m7pWsyscDIaW8MyW93me8IznnFipiEaKYl8/GwqUP5aBqlPbABmnqZnLIhco0EK6Rbnzqr7FAGZry5c1d1zumqEGLv58QUPIT6FizCn1Z/h3n4umofvC+MC3WasfPsilbEzC8J2hjzs91vv1lw1ZpQ2pH7HY5UvZvQmX5cr8IIZqT3aqxlvduMGkOCeDicMpGtE7ZQdPlwquNY7ISFaqzJlJPfVRmEo1meTY9FNJSx6N13ZmPlCOdkhk3TTNHGCwtR0mAmYwf5c+pKvPKTc4oN1CXzSCkW0Bc1AYWSpWNovZTqfCjWiw525w1QlabQwErQ81TehrnkUunHfnWRPKdRSCUnw1m0rHtslla/6nruh1oFJ0n502gkoPD0ByydR3t16hnI7WKjZF4rSsDl2qACdEaL4P1DLapSqNfe6QIFiD2N/SjUnMLOY8eNByNLP/7CTYzt8B8rzUcezSYJMAyGv87VBHuzF7jTbz3Wg/LE4d3aCL3R61fLWf0r6aOOxt1/qm/DbLFJtgynTbkMD4HTRPLPiExAKzBHvKYIw4meWl7Qo0ulRZC6sP8PvmmXJ4nYq/9xGqkzn+prqQwNdgkN5Csb5lacDJaj7f3jzjxRQ6DZhdHHMwlDhFybJpMj16n9HBZI/Gp8+cXf6FH/YOvpyTKRUxSEu1IDJvi9/4KOXTgg+NQVKgMQb4tkNd/kURijFRJHwvftlnSDWzaNS4F1yTunPV24N9Y20eqF9xwjbSzqLnbyNB2iUq5dT+wvTGV04k0LPRNq/ynD8ViD5Py+f0jTey7eERCHmVqs5osIhD++m94IxN8KjEo9L0pX6yE6E7tYj6QMeWtmF9ydXJmRtZEQToTwVE+hkX2fuGRd/2VUhM6Cre8yX8usV2s6/LVbCUMLeJhb7OLpHd7fxEHybgksXExC4vyZffzP5VWbFGT5n0kqSKwoLf9gCzyHwKjjjIfqRf5tOewMPvE4fKODz2nzzxa0dkoFaIbW/5nukhTIBhZbidgs2fODi/PJoxQASgYuklYWQTGr9PP3lc44tf33oFCFc39Vkm1A+pL4E6aVgN02CnLIknUMGlpZPNl+OWBAZ78Q72Tbf5Rd5R8WpyFBbF03qpfK1SSwnBEDBQN+bYh7Thpla6m2lC/PaK6mi4YkQa5LL6L+9U+BL+RjRBbNhkyc+x6Cc8e390d7KYoywQSlyRTtbISLKsSc6DQdFmMAOMb3Ssp8FLw0DIAhoH+0xOFyx29SDKGT0IKSqspKoz2SIpwEM3PgahYqlhhYpnwXeL4CAp+m3u9RwV8+zNs2TEqrPqWzJFDXkP7npBAK41GusM/ruCPXUPkL2caFLdRL4bwpOWq3HsWLa67oICbqzEhl76ttTrZRbsFZaGnMJReg0el29j87s1vugISvDYpchg7UUbHwgHU6NRuDzFGpy/T+2pjlUhle7gHSMQObvTHqJjsmFmf3vboQShgue6r5R6tItmouMW9UXR4mdR0DrtI6cdb6zeApTgw4M3+paFBmJ7lzGxRZGij+qxyGAqHrK2wgGGP3VjtRAF9ys+YH01PMdtWM8Zo6V/y8KBxJrgkKEhpFeyzUXj9vLFQ/zA92hlCKN45aMTnl3JQHzjgX3vvLdVgqK0pCl09He/+C0U+6F0D3RNpmQae/RfuJ73hWGyEAoKl6ssfvMYG0Cppmdl5QM1cPa1uWKuihUZhr1LvEc0XhF/B+y0jFwRBWk3kKWRPOkXuGhJxQFiDf+iMsWYlIXG+5/UprfSFvA2WJIjx60VswfayvwiwUviAfIKBLcissRn4QLc2DhkfpDwSgKJaabZOf6wF2bkLykt7A0nI4Scyg4gojwYtaF9BzDF9wbqYUKJ8hdh9J/tKf2vo2z7sA7i5iER347Sr5qjaIGIruK9NmRfq6MwpbrCJWAHwIOzoE5Kit2wQ9bHDcHwdHc8TCLfo0xfNVgwtrfrFFCAXlAKHiYIlK/9xPNOnxvOBgaE472hkT1s5yZF3aLTJmApaejGsQG2EDJfSwjPybKPjiEE0ae1Z2zikZ6Y7N88uGKTjDazPq9mkNa2eR8xI4ZGyXWg+oVZ3CjxBCeHtokR4rjQ1ShesNVEBpkhJskcJHrc0p1X0Cq/wJBpKEMRKaW75ZwEZpuDjERwjQEQ5QAquWBa0zKUQF1+FPWg9BjyL8M+L4yMAKja+1t1R8+dZJLmA6c3+XRvq6ZivZs2d9ALoO0bwZTlwqRceoVJpgCjl35iRKXVAlfQRDcYj6l+I5mqHNXUe91a3V6siq5ElBh4FFxis4kNtMzKEHB8r2JOHdu5SUUxBMoMSXZVHb0eojvW5HyBiUL5hMExfi4TE/+r22RUpSZ1tqJ+gA2b/f0uc0bMyYD+Qd/pNxWsus2YoXf5NSaVMSA/O7YeSBSjUZFyxjqVnaBthkfwef9Xuc7fh9qoXZoR/ZeUuM++mo1e35UI+mDzA9QIC/gUrW1zIFJsgF4l6P2EUNYWOLcGQ2OvjBaqdy04WRpq2ibqjSUpTO5J6jVB6Y1Sbdz3rI55n5CYoZR1dSTc9ZGjoUpmzQI4gfXqeVAf9w+ynx8IUedW/S4x7S/ltatzFBLizt5x6EI0EKcvhS5n2lrq22x9YzjTEq8EGpSyp2bAJl+YGaHKiTahsJAr5+Nh2eS2DlYC87MFyHb6JzSOvQ+owurl6jLqgK/OQUKVtXnv6CNuEtyeTJMoNFluewXhx7qdk2TERcze2dNq68LjGk5nWGEXapgRKskoUnLxqjgHhfdOKRvFRDCy02yndK7gUGcAbV34JVsYdYdf5JY/EYp/ds5sDKooGF1dk+XKb9o044lFyf4yTnhBR60WmJpo14DamaLSaog4Zw9Ewl2W7j+vSGezGQWulTf/XpClht4eHhauSWmblMMRB2y/LlX7gFDmHL+r7WimpxawN9BvHUhhAbemMtNRlRop6l8zjPACcUxVZTi4kiaLfBUjSpT2g9+rLmcsq18amw09+1tnnZYvHbg0HlZtJuA87OqOUHEKHafPgKf07u9hgDZa5bIZxfyHBcHqDdK5xj50J/1XA1MgnwYpl28eM8w0SosSYXN+YlNPtomNTdy1Y+PAkQhqAIhvECNAN3dg9XLDxXNFuVYIBq3mhODEZcaU7hDgp+XJkWQS76ViDzaSJA9GWus3KoSmH9ipGZR7yeRGQroe4U9c20Cn2CoCo0MnRCZN7QH9CcM/zRv1zSbaLhQUCXcJp93cjXVBxGMotC9wgNsTn58cFJSRTo7y6auAJ6IVA0taJdXWqS63pGM7K/7DPuVEs+SQrwRJOKwlhtw+hqLkJyMwoazVkl4kRZJw2RgHFzTBOYCxkb03bwPpogZVP0x5Uutfpmgo11m4YaeD3eQIo9WM4kWCfPlsJrJ0kr9HiGU6byV5yme+dPEVHfraFXg/BxcJsJAHlj7j3Z7chEtz57/ZrFrokefkINXV/mEk0o6y4qoS7LpG/M47ZpTDfxgzro8GglH0OCcT9yuCJB/LOEUqeXI9P9Rz3SX/67bR986KWVsPzHZR6c/nM/brPf9N7K6ox/f200JmQtwm7DCjXQJQdw+PNp4Ef/Cj4QbPKn7f+TMCT4d+iMnLtGRkyQhUZOokbKtZn+8jfogbUqlJYuCfvCGZwy3UypC3cFTClGx1QsZmqVoLuWu3Qbj0hCK5uVAFSMNqC4fTw98da/76p8/PIsC5gGmaZZoJJYdixAQ3U8wSIMV0x9wQFf6OBgABAX9M/mfcBFxT7yCmOkfNFWYLbCv4vnDLnmvVntNsOus9PVEhzd5qzWeo0rlvqzLS8XBm/cgcS0i2BeKCH2J+maW2ZvXKGFl0PKqNty688L0FUubdvX/Fy66hqk3uW7eZ6CYgu5HXxBQbd6rconI7Ia5uCD1B2S3QA8cvIYqu8wd4nYoNXod4CQwFyDA73pZTDDLMRd1VQQdngcFT4IVLTDergw2/n6z7HCtnWYRjF1LgsTQUcPjs0RaoB0pO+deerp6FA1ucTUcrJ6MBadAburETOzyZc1ufre50HKVDWiMIebYSQ9DaotRRmomIuEHPfubLMTy23Icb5pc3oo9lPxzkAax/TyGNH3jlfYjDECOewnj85ycBeqAtGY2+o06yIQs30CiqYPue/GlZActu/fqDQVX7JbAzCPHVkPTIVvWGDHxo7CX11VEWswNS5711kbXEgbV8lu+zt7b6V8fnPijdzxJr1TuALk77dJrID7UdV1LIGEkDlc/Pu92+PwjhYkFdmDvoz8a9umtkNJvg4UdcBdSFtGujTTU9cqdS2j/XR5hxaZwgCk+SMmoqhoWUOmYP/t8eqKkf/6WXvwL74n5FwMSZLGegG0ELqTe/GKRWwQsISKxLiXhAf9l6uRpTN+94fO9mJ8rsgswuasRKozILL0bxZNe0pYnTBWDsYVek9LgC2b6yECM/ayYiM9uBFq6aV1YS+hour6Qae1wQeRb7QmM0UTj6ShMJQBvF6Yvzpp5ZY1ZVmoUNwyaeQEtV40XyfOlNZ3uKxewfU/+/lP9LOu3IsCgWpsoKEbrH0J1v0xyYnpeAkj5sHYA4aExXz4zhHc2je93hvAboN2ln5/WrI3BRHzGTA4AXFq7maSaC8Ca5BcM2gWnbKKwLnWotXUhnkgS5uA2DhshDu7sKITVXxO5eZAgPiAHuwOjnRKg3KowKgZFc3JjyNrVE9rk1rqeu7nRQn76r4DY9gES9WAmPE+Zh+3Wm4qurn4WzsUYNpdsSo0dmUOEGa5vbFF2lQfcCm5l8P7MQiq/pNYSAV/BgYl42h6mPi8GoWbGvcJLPSIPbaKRz1Fi7E3eLfbS9VVwCdNermn0p3MAmKAMDYj0GIQF5heajO8h+LooTjsp1LSEfPDVeK7WMMPYSAznc9NWsb725JopIpMst3Hp7M+COhl/isBdHTwMQyVOtQpO3IdqfBOKAZ3GHUVGyVqEz3Ih+xDN5vvuSHu/ZBrOO5yH9sAIkF+L8MqKY/h/hWyBg7Wd4+Gj2NuwZcFsL8VLDaMEkI08Id2XAdphjwLN77u2jeqAdyXwQeIbG/g8KCRXobIWoF81Zfz86UQkGVRz2SvUYj4EJz0xc/Enoij5U5SyogEKQBfwSig3udcPLTgafHiy31ZQRWo7REdhabajrVNr26zkwrY41awTCRbUkEl90+BTihBnV/iEEcoyIwJnYY3GLA8iQlJ3TaAbKFFc/KXHWq7uN0+ErpL9UQNjsFuEFVGb0tB4Goz9JXnFHAcVhWiGGlftWAQwqfVv2pzwyXM3d8G4rGiP+WC5Ji/GpShrcrt5gWeYP9snVc/m2QVIWeZEaH6GZ0iMh8adxTRS1x6q9M77HKbg2LlX8AJlrWiriDDcnTA0G0R2zPnWiAZwWURMez4uShJ10RKJDNs67Jbg7rW0FUG4eE+RFceBjoQ+TNzUmCq01/zPph+Fma0WJ7Vl+LGEBp38fTug2PlqQpdjH4NFotFe6gCYFK2kVZDy5MoKykUqsRdx1Edf8IgFRbdas2HObLEgkAJGOW23VYFueKvEfj1OIyIvLWJ2B43prLOKeo/xpF3Fzb8tvzedM3fMzqNdbKumW/GRZNUVvpcFjg3DzOzc2u03gb02QLTURt354FPF3HYycIHeh/CLWe7GvngbDEqbnkj5C83hYnBONjgesjNzDnW/bBCtI+tvFu/zsHSrF725KUK/gFLVi/LKpVdLoE7k6n9D4zDFYlSC0VJKjEp9eP0yIr4oQ1E3T2ewIMMd5B0RpLaRPnyGdpR8AzUy3OkyCWWq9LRgQHpj/d2Ba8uTGwSOoeUAnMcL9QkIykGeXZBdeYTL0TdO7WABBW5vpHDN9KGCyt5XgEM7Hh9esB1qHCdMS484uPhZStPdrv75vgknwaY+/MWXNDLG5BFlhTQ4LgGa1fdV4Wbje5jNtmv7Hag6Bg3y2/57NaPYLAzcXQhGKT6DDrLgbu18idOemi8Z24+kZZaEGE3EIE7Gf+uWkPePLc0xfg9qhmhBDXJQ13eEkV8Z5G+kOvWJ+BQAgh+tVRPzSCKiM2yzs2Aforqv/3HyClEb/MEeWU5SbWFAYrbT2jvLixGaKrJUtPxmscpfLrx2jiSXVp7Ej48dIP5heVi14tUCQzdJ5szextI8SpDkWkmz2Tl4JLDaUkQknwp1pGVDT9ogOnVph/Tf2TmIU7CrNX3vgxSl15wl1BliaTJPiYFC85+aEz8P4CCXkpdP4Gdwf3swNgAtluKYZ7drEC3XqjJXEsX+rk+7x6pURcJf4S6xMVzEPTX2/oWwRmvmaFGzgCnBTUJoOGkQ5iLoEua3mYb6CzaUChPWfUSLVHd0QWUELRWJaFdcPuHjWdd1h9HlJa8itN09tB2OWBQmhJ2HAYurh3Jo3OR4n/EzSvev3QpZdLRPH6mp++Z/mb/wv4fltlo3JZZHwollgAqllI+EV7AIJpntz9+hZKRt/+OTtOUTKwih8qMWHUWICEo+113WN5LKS6zRM0D7FlX+1kLkGgn4MHlO/ok00mSTOhnPdK+qpkn/5xYxhUdMhmQPxOF0kizE9HpsjjMfDIU7Dqr5YranVosT+5p+ZSk0fWCIeBbKZUaNPDZigU1CcJ9wmNNK5kYpZBd5+4nIhQH+4Ox9LlMyV5uras4IL3tvFfJvnXdqeGmz310k9qiMqG5T0WGt/t+cc93OO15+R5iuBT3V64J6rS9XgzcNgcaYo8bmVw4jdJbOyJryoQ3kw22J6YHA8z90kD8BrvU8AzOjF4dku1wdcLbl9xidP2XCiO1EFxHNUcbcCzNe6hD+mkWEj+364UxRzZSji/1XE0017FOetp16s9eGfTrArYZxMWUHGP0hg8piKPNYYgM0snLIBvPJ2VmOuZlrMy8HBO05/LkHbwhltXr+ebXPi2AbtRnEN8QuAlHntDAs+WpHuprjeqG5sUOrAR5WmvDMb0m/hOtQOxjr4wy3bwTSzSlLPl4e/32SeZ+YGTW8wVLgu3VYk9neoOUegfmy8fEqEPfw5jpEEF3cUTjGZR1RbsZwZeUHrF2mE6DKXBODU4N4mNnGXIsryRhE1HYqyhw5SgU6ZE3PEmm3V0Q5OK/RaTX0gtwqnrAHYtaUUMXJhv8Rhq+/XkQaczX5BaycalzfvuwCxGE0aXHNfiY2x4Ek8D6tpCj7qGJtCAd4PuNsRMOmmSxO/tqaxOZfp54wpTPI+pznCk0+UXiG8b1tQFykaVKffPYxSd2InH6yKBr7ZAi2EtQaB96Dd8skLW7vhQ1xbpwrlCC370GldAXpZBZBSWPrhwx+Wozd3Bpltn6nEGE3K4H05U1E4jth7603SlaRaAxsgKwsJ9vogq19RngtkeHhtGYKDUW83mCANEvn2JYn0v5IHyPJD8WjYZJgYyxUUWtCptRxfDWEKGPSI9x+a9VDkT5WUCDEvsXX7yWvrrcTyyV/LEnvjYZZS+sUsoee1K5X8udFsYQGs7E1XkUiKoaRekpE49yOg6dnNGO2A3MBvM3HKS4i3qmHqgJ/dJbuPs7EDcgQ2imhdISFq20VADBdR/xnoPsg1lYQWrDVj8gH6f53SimMghn1UosqHmbM8o+e66fxQ2ORo0zMXdtWaDQ6y6BZCyMNYsqLiJ8xuonJ7epTvFXbiOuv+kJKGS2JmoVPEmn05pMunBYImSrJSs2T2wpE6vHH+ymAfaVwpLal1X+wHMN4XggVXDXOMZP8yin/hKgzwzbCLvm2IYDY4ge10Y3eWCuYLcbcWIXjlJJuJYvFiSNGsDUW6ucT7fbg1bAoT8L8I/LLmoI+1Pq6c8cebw6/EdB9Z79+SO1XJc5B891Ie/5ApWmfyRXWYWOYXozw5Hlbo1AjJuz+kEShnz5mxTzuevKx9O7f9Oie7MA5X61E8aDFw1moy0wf2Ah+7bTy4Wm8DvRX2ceT4x0nzkpMTP5Vtjl70mStG9lGSDarNa/1Tl1NYz7LAfnWRmXiBKT8PCwLS6XyA1/5Hhv1rqccljp98tg82xyCh7LtI1EpE8lgjLiMjFJIzzULJxg45b8QV0wc0s2cvOJTpNI/AeaLszLnEmElCxwsFiwpPcgO167J3cbUwSJshCBHBPp9mlqUtsW/D4NpJcVFTWbAyPpxe+Qw80kgFNwlHe9msufYvdp8G81AZw3i+2uoNYAwqrEfqJqqPXt0usAXBrwUFNg8DhWgYwd7CbAKaYIl+VC2qm/sR1WHGc22IEk+t8yvogvSNfEYv2MO9WZsjWnJNZ9OD3niswE0zPMEe2SzG+76fPDqhawCSAfG2CZb5K3MxahpnTrlCaaLlegSGPpxc+NN2QWWUEAj4OxrNHMdxKJGJH63JHrpeHcPMq7HbfJp8/ikQw8xoabJec/+PunrCdGTfjog2Lhp/a2noAYiLHJPxBFbQ4V9yvNYBZCCj+KRB/BEm2ENhYdFTQ4jzbM26dTEhLXTT+GOK8LPLm64g0XpyNRsaIQPIYtRvo5XvJj/hD1hUk+0fVxeeu0nz4+P/jMH/Hgqy+Q+ArCUQfGDzPLbAsv6pG2qJRh3n1yudUJsLFh656gM8RdqKgA0HgUBHIdmSwoWPiiHBGt9BUJVijpKmtW71hADdMb5CJhfciIvlXn5/G31mgz2CNBn67q4Th231uvBY1Z5I4/LjP2+9V1KJjpLBMo37px6GiviPJe8Iz2uLTtVOmPmfWN3Y8xIqSmN4WHICoDIujUjDzrH7YM16PvvW5U2l99nZO7ZSmHlm0BlAhpwovlAU0eJ5WWLypnppaWUMeTcZ3JgKFMOdyI6gnA24tpzpv+YKvuxIblNuLgaX+oVuupIj59Lg1TrXWbvMJeINZA34LxTGLDX9A3k/g9tIAHeuJzEa9J47Z05F7iqAmVUhJUZS3t8DdRx64LIiOnakFOzxZBlmoF+bb7S1eQnrnDDmDg0kYndP+hBTGIoI7+bDBciQGmDc9+GFGt7D/vX8pt+HTtUDaKxnvPgXmi6YxEddfLiDnJ7f4wIgaowX1QuqZZJWtPGscv8+N2Q1ubPEtsOwNinsuRm8JsGrih1a0kF8AjtDHBkGejVsC+rGJxNBUT32aBFoI2s9Nam+aL/+pe/KFrQZ9KKwruZTtp1+2vXQcL9CeaH0njRcVuRVA2t45SQNHGwVQ79ai6g17CwneZOAYG9yz5OzjJcg+2e18v80HZPYEjR/s3xn/R0ybGV5ovrwo7aAvIFZJ8zwdBdOH290c5a6SuXmzlFLkZlcz3NJvm+jdZqqyGwsN2Ag9hEvlKECzXydc0TXDEMm61AU67Dy6aNBfT5KSoVlBkm4AOEaEBau0BhWxGMbV9TLK6/NVdDpyPhDAmIbtsgUwllERWgkbGGdmAJ7hNyGUuABwDHEWp/KGtIp6/kl1dacbUEG4I13PSgvcs8z+SzyIyiHwVWPZ5OeGvNuF4mY7SNskHzeOEtbwTgxt3qghPt88Pna3eS5yWbim1dCCZDbEO6Aw92bLkeVCE+CAJ5vlfVYG3/AMoY/hP49F4rbrSlxQt95Ve7n9nHv6bgt6mg9WNE/5LDDgZsoGI5LyH5ml/CtPsZkrjGaG1FVXuGUwSYCgyhcBU372yhjabZ8QApaK6TZ4ikM1BQAqRus4YbWG9ECtFNRcnH4B8Cbk9tkLmsmIT/neuSDnUhyPjv7gS1XjiJmCWPBLLCrlcJHnE+sqVqXlxIMuPdpEoflxq/P1oJ4Y3zDMaREBJXIxdQjLj38N46mqX1LAFGEvCse5U0TBdJqBAZnvL+CqXizCYKQJje6cLg4w123CChug5edqDCcqwEIWmpi1cQWDMCcYrfXUBicAAlo6O6M5Wxfi3MjuXXYMa2wwxa8FHvbOn7BBThsPm3GJvQfNAXNFFXtTvhIX6kUNR+CbHzVn7NnmAx9iZvitaMQGJtRNSE6Sv49ImdkoP9kILANrPIBoDjDueVJ/GAKV6IDhU3BHVuvyrKgFxSJNsiK+YE0yWzSGOINO0axAC+wq7PyfHpuyH6upvwbUx513PXj94M7tKprBHPiy67nnah3bxcZYhotOuSP2/p1O2ERgJsx3HExjUXyV/Q0fwCpc5rAtJeJ2FrCHJLfo/nNcW65hOcvKo+1MBNkJwJKTtZTXVmUC2R9dY3KJbWfO6VYoRk5iCP3aNh+httM6ORqGqbb0o/gGoTkcQwvO4hI6G8j3bWum9OnRdK32Zkaf3lG77nw7DMPOTSX9/lz7gEHwpK1/yEoJWzb6/zSBGdp9ZIDEMzKhprEhPPnPGq/ysPPHgx0AKqBJ6SS7OID1Y0QLTEmb64UQ2FLgG1A1hI8rQFTOv+z00OOWAQHHifpEfGXMJVCtGoY4EbutYuPO4s4vWH6PsRLpqI0S7teDYzUWjvB/igA0Ca8G5YuesHYEkCstaKXP+7BvYQWj5+6eV/7lt4MmRCKkzK0YYVzXRjnygJmJXqS0tMg/4IsnRHZshUbDMbnKXzAOuZZGgPduLxXSJjyTTZ+TIL9x2r/hhDpppxJZzmC3cPU3OrUVzDLjzkAwadmB2q/2loE/4CVMFdOPYrS3LDVc33oal2cFOPnk8tgSi2aq3cN+YoudB9h+Qd7SuuEIxP7nE/c1D7vCYgVT9p6YCwZOChmao5ptUzNXQOWn0B+HT7m+NLmr7y0y15ljb8yV3xwCTfa42fPyzeOJBWVKeGtEMWK6EtPLwlWQ85/81xuo4N/0vJ+3jPiE3weMB89FxJYcN03/rexkSEBr7If9T/2JzaVIQZnp7FZH52+z2EBx6K2jANuLasXhGKCXq7NnZM92FtzUzdPzzQPZSvYux/Byk8Qtrkcm7MNenHN9gyuMX0uxQ8WR6ZgRcTmOrN/c2ONr8gmNN/jvlSKpTZoU5muERR9kglvlE6Ex0d/tpJ7UftTTtmbhlgE5TJQ6897tMT3ampN1ICQ03QoxAB+0hmHaBba7ZTdyncio86ZaiQo9DHybXJVZIpO3sNn994omQtyxh9EejZypz8B0tFD4rbgIdg/efXHu0tSTzwjD97P7oPQhLPz4Fx+S+y0gl7uHiwpsgcMZNTzT1XOL3weiqq+N2iQf7nK7VR3rNYB6+bxY4slcySTRk7OeImHNMk6PMIAEL2KzZRFOKaV2QERhik/u0AQmkvfqL8kKdbPhb4wXY45igeLx6R1zaUCtyqT+tWIOzzrrQr/+IY8Gfwyyw3ypJz7UA96c03X2lgwVm9ATYGx8k91ivawcYXh45lU1v4Kd5HEDvPnTlqQh8htPieEWzVOijDJFgj+I2SNVCpr0WTG7SI+QtnB2KGvXiN3M6ai9p8xc49p6oaLHv21z0p+DqaCGd/ukItLbSnasuOTRY7F4DQbylRSBhnynVkU+ijVl3P/RX/uoohYoNR+fx+7xspnlQp19pJTlufJDYFAkpHG3c7lEG7D/AsI1s6vGpef8qbkIQKVrLKUEO7iD1oELVjmPhLbyd7o9GBMizBPAaIwtHkmJu/04yXxvHYZ88CjA16jh5OUU4K22twMHcvrPey5IR8SFB/kZ3ensVUY+WcXTIY9nVQOXpDymV3IuJFoU0zgJMuxLTrYC2nHtfc4Eihjficzr+lFsxsrAl/oDbB0giqaJlkMHSQU5oxIMZ8pWxluPRMqWdacOPuIWmu4fWWhYtE+hzYFNLt/cK2PZzcNFJT00YX6XAqHbjMYRvxQOAmpD5qXLx5uMLpCPxUQiR36QVFAkGqlH/snBqvecc0Kg61sHdIYqut7DVkPLEGNqYK9GV23MVcyWwD7/evsO9ZevwsT8042TeTic+cuS9tN/ZVf6q5lNxqvIpP9jN0GwVq042h13yXbmXi9CjYnWncGWptmEQWMOE/JxjpZZTf4bO9X7ETnkJx8X288QDmcPrIWozHIme0zzU+Qe0Vv1EcwDnnfDMEK/sBUheBhJnPiFWAiFq+lYQEdNLXOqSHDxEBrRcPDR2VI7DT3nR8uH2DHCDnuL3VFBsKxmbe+eNcoqj7GJVdqNHNGAsVj6NbsrAEbwNjkp4R4V52wkru078TjeUZkfOqvxHg41E/PHzORBicpKpRE5Tv4ATYrBYnfCq97ffK09XL7mXWDy7fvRJvRQYb0JlSnrTrlvDxwcMdiPX+0HC+a5MOFMT4W9jhXLrf4lwmbZQUdutgHpiNbm2qeefddlMzE37jHbAIXLe0C8tSIWsy97soyl1o/sTb+N6HGv8XRzcSVT8e4m7+02F0BLMB26oaCrMulE3YJSMLF0pM88sm+joZ+tEqf+SO7lb/AAlcuE7ZFWCbk09O025a8V08ym7sJJnBkfEM9S/I3fiYXxP2GVxOzl8NerZnmZynOqadJcBKnQlorE9rBlqgGOqThr7wvKPfGGoN53Y3lYTa/QvXb+uZuCH6WOPQOgWO+8p5v8nIrb2GnmndHRD8j6xjoeZe3DjKo5qKZxgd5LDWESaN5RKQ+57gSGXcqXeKi1RCRTBWZLHJbv4yDwTEuyxEsmWOS9/4/+y2VzC0N8/WgR4jutdTY5StHxTmCPAINk/vGWVfKhuAH/oDmgu1GaNcYmemMP8XWpIzMo+mqxf9CIYXeds6jYu4ThLDxIDE6dcTiBAyOW+euh1oyFvpZ04rYiAQPk2wiQFI0S8Xn0GMG4YCmE3YMY8CRBGLSy9Q4Jt/7HuaDGAyUiP0+zZCvzuzEfiQKhmTBmwAmyLQyx9NdDrYeNEJQGONo2VPYIgDxB2bOeypphSkOucJPt37D/F4G8Eq2CwdXC0hVGpWuM8v8RXL7h2bjgeWi+xy5LObyvE1Ti2zzwoIsI4ZbUOMmXjRqpjnyEm39GDjM7TgYmZ1a+Jo4MiemLpXe6ic2PP5KI8IB2IW0ToWrI/pC4bGk6OPShb9/E5aRfhX91vZFYUDWFpwkisvv4JqPJHHgb/4oUYjhs1ps2akI4aH2nD7ld6nSp6Jb+4oOrLdfJx8NA5CEQEvMeksUKne1HQK5HCMEi2sTE7XjVCJ3Xoi9u6ExzNX9veq8KDYtKD6+KuAuYxqwGZFBXLikzRUVBQxavnGCMYsdY92tttwosTj49aV/obWDK3LvdlvO6sM7RFbmeMt1sG3i9duPChXCHfc5piU77m2vD+MqSyMNU5FPM0IZzYbPu3OFYJ6YQUkXq1KN+apn0xA3HU42XQBDN/Ob+qSN5x8mitSS8CCaQllHZdiZBBysdNcoD1yNF8H5VXvU2DD+NMbjVmKBwlc3t34KsQ6p0bB/NQg4oTsyJ8CyknaN1z6mPNt5CMhge8L3lJJ+Bgb7MUNuGjrJ3diYpReP/vz2MkJS1UhSTsXRlHOEDGuIC5H8fRDq8xu4enyJ44qjA5xPiyzQmTIFzXe87+9hVAKUDsDufijQKzCGwJrXbORj/1igeZECxR/64W6ZHZEk8xZnG0yXMeVdjUcKGwrTLg/bNBz4Be6UwdfZBwjbY5o4vergOu1Usez6oD3ysJ4D3vjZbZvuqjIZ0xtHztcPi/gMKotO6mmLQtui/gyAva/HqoAL10cx6FK6a3RsIuLzHm/wN+2/sYTGYW2yNWJ9wsLLQEbJE6SgmjIVIFLX2kWwSmxi80qSqxloN9yyMO5fT5vH5oXaWWpzFiBcKjBD6X7fSSlfFjxzg4xAerpM3+yRvSMTawDRjSmVo/sRc3FI0EqWp/MhizFVgdJIW32BbdNP1fqoiz6QzMWMJmee4Vt2Wpe3ZuCeeuKnRz2oxFhJtTObwkdpH0nkFkjhR5dJo4VHvHLtuEMw3F6OG7wNYLa4L0YepXEoM0paQrBON2b1U+tTYO6OjmeVvhSWp0uvGKZqbQMaLTUHLi2lnWnKjV6+FvXXYISP/aMUVAZYr0d5YsZC75AGQf4bIc7IMeD0FA7zn8pz3L/wSOMUtOlbWydoA4hUXLyCIhf0nvsqDPnLE6/mHUeQyI44I27GFKlRgiOl14RipnzPRYh3i+Xdjv/X13eOyPcTbx9qrFvxxT8GevIMsNyioWTzzfIAK3s5pFmmhF67XtOJIW3gXO/7vNNiappYsxYymxTbyhIq1HMG4vFfpqxasqNIqPnMsC4A5r7AZ/p96mMSN0drmP2ytG7OTjogOoR8WzFeMJFuDBmIT1jF/mKw6kkj9BG3sCaRG0uaCpURR52a+6YjOQY307OGaRsgL/574jBpPvxFg4LwdcGojYFG067i8418LPCQQBDw60SPh4UmZdMAFmviHfY3FRIcTm+LVY/tahtw6htRPPT2qm1q8PfJfK402QgVDDSrHnAmuAKhgySBFSyyKkTkFxB1omSDeN1vcgD6rWVr3qmiTXlRKG9FeAwoek6tEjpBVhX6KRN6zjiLmRaNcivWGvBYgl55KTteCMF+zIy8eD3x7x+j+TpSAuC0tUBA/cCwT0t1/N0gE0d5VbCj62koj1P9y7EQUNv98xWQSjGKuYY3dGC5A/ojfKwUk4zNhrPO/Sp6l0kVhTVND1SHjm3oX8u3MBmPYpUj1ER7Fj2O4MftoJqWKyChk+oUYKPFe69wFlY7YqcqjzZaP7/UVGgGsJvvkfGsoMR/A+wDyLvm+SAOlaHi+om0mDGnXEs8Z9aqhns9XXffTUCG4scaNYWxj3u/tJ2Ddz5H6IoYt7IeOUAAwkg0r2MgROLErB+uQ1JtYQX2jCPhMpzh6m0kkmLhZ3sYPjwHCmpWFuCJohDRs+HGDb0RaPjMfXIzzQBqR4j0o7FOCFk78q9Nv6sjw99m/B9cOj0vgyeSYNr6T6nEXo+zjuRiEWJoY5N6ZLsPyBHaY3b4Y/XQK5UP7kAshjJ+kAKjxAknSW2+c3lbsJN1/ulM2LOWb2XLZIENb54VroCC+FMREJPze9/cZCjZUeTgRJ7auKTrDqm8M0SHKUV0AZ8RwHIBwyuqqs5LDlaUiOJtX6ZXcvaCuMCQ3vrTBqjxtQ9I4ICz+ZssxTCY8zAHKPUR6fiC5PfCkzHveFQJAqlfpSRHpy4+irTAjrSpmya1+1We+oRqoF1KMWdw3wM7XRKVJzqgDPc+sf6W+d54wjGiKpmS/tIHcfWuiOyy5JWDHWCSmftOW2v3Jio5Df+mMsziV5YTOvKw+Rjntuq7xWf+jjez7su3rcG2a2wCtSDasuXymuFV2GN6s35aRrlMkWa1VcDulu8z+vIctU1wzSO2T1WpRwzxKmpDA5bkwkfjX81fD2EY1Z2m4D8Kcz/RAxSv/57vTBANBoqbV0z7Fgo+JDd6zez9Zn3rm+GR5lugIxdLj1UxGpjaxdHr1tPcslQJvUIruO9AWe1Y2/JO12eoGUwxbL9vlGqsTvulTE71iaSq+Agj1mDBGXOcUU9l+OBBykKx6hBcShrjWv4mghjaFAorST4XKbEXb/hUKkXYr37pmcI1gzZ4gNMCiDxwFlgapzK1RYNBF1fjfSV8JBU93GskCTTyN2KNRHfIriXMeysfS0qFfQi5/tPPn3XJHsRaHKnghlbdm4HrMMP5Er4EgnStPEVLwR8pLXyQzVCguMFBVTRBj9YrgFrHSleCq8P+5gxPE5zF+lBZg5Ofr+vfLGi2hP0iN3dy5M6ytjAoxu+lnwcAZPKYlEw3NL5DxL3O0X8XCl0o7VFPSjrFC62XY5UayxHaZIdSySEISHbarP2GePtB4ek5+xdWcWJy0QmHglt8zb5kxW+Id2+1YHuzYhEoE4GuXznL13dkU/SUTS3c6rSCx/zwlJ/wAqTAopPpy+jqnjMhDflV++FgQLQkEbU58lMT/56WfZtS5WuJyhDNu9nTp3ukrrVHNUIANsWwVTl9cJhQS/aIOkAWxkn5Cr4FTyojkdeCsDEbY0Bdia+P5/wdpCXxftXk63SdQVtFxTuVIFT5zKzJ2KUd7VQKn/wowq7YZI7x1qcBapF7Sh45aHDID1lX1lrNFXWR3nRIbMaU4nBZXia7M0prFlP0Uyt7HrrGzti8BPfV7yBizLW4X7/3Qxx2mhNkvXNA/okQNBrE9xVV0v4MWnHJoikdD6XOURLf3WjLOgm5xeYL4UPxaWQSqkxChqOd9u1exhNtduqMHR6RJe01eMd8V1usI/avIiAUUDXi7bmDFrM20IXZcsKq2FHuHdwV+kWfx7HYMI957Bi4jZpxGbT3tErOZL8vf2h72e65uTHQHDsV3T7jDVHjbO+GJuXZy90ZhX65ppqUk2b/QyAyz6JrNgT0b5bv0GNF7C1IDIfArcz37JtK0DjrP7/5dqdY/B1qSX0SHrrSAFiOYc2d+wkz9wxbUFhByC48gAHvZfvWN9byCs7fkJbIk1GaDn31LR+E897Upuun3cuGMDoC3NL/jiVd+vjnnwA+XKOQ7pvaqzwkRTEhYblMhhuYRRYhn+b2yZkeQxk9Ce7PThzy4BVxksYr2hELbA4lZ4/YOOc/R7JXpURvnOCeqit9rxZTtRdlrCm01GLP+A1tWfPiMiBnXka5wJH3hKXIBCfmMHl2sni0jxrMy1gIfzS6V75TcRLXwkm0bisiIGZXxjmDsSJZSpnmXHDNVRsSIqJYsIwWYi1hHxyJIBuoOBo1BX+q7oGwI2gADY0g5eD0c6Xbp82CkOWi8UsW3b0vZrizKkwmPB3yhQ4vKXSiPKDH4301fSZe6Ozrmbn9OcD/RdNFUJ6PxtF+GCtrqtf7wTHL5btp90lv7s2+Bvzdh5ZdGKbdZSEdQ4b83R55hUTcGgKnRv4EasPSThUCrKHdpPeGzUqOnuNa2Fo1dMz1FENnMkQpIbP426nZps8umbdJhgeOr1fBFjQAg3qlWrgnqz73496CAkR2ia0nQJVxnF5lspNbiRU5MmD4Qr2xLkHy3GCQyOCm5W7a2xv2Bw/h2iZfWZ0JGAiA9iKXcheUxywaMoTmDXS14h5kdUvql7FnqTa74U2cbyrl63zSNTQViufEx5AB+81sNQZG85dE7Tet8dhBhG9EosjwsyKoRMfQJjZvHjH/8dfQvzsDq9HGIlscs2gdZG6jmcqx4QGOoPMEVvB071PkQJ+HZSS+L85PcMMCkKLeQ1en9D13F0QdcL0ecin2S4yiwZtLULXWjgf+FV+iwSHZs274XGxmZF2qXXZlVC/DcBUyvAoiJ0ZV5Amhtcf42e47Vh4r6uXHVVc1fqiEeyY+9n6iuH0xUXQUg/Sk/4YtG00hUYdVPmuga39wSroFTmye3od/3TUiE7aD65ky5i+NeayGGWa8MNBMDrcsYGagDQlvFhVfE4Lo0KHfPGEPvIRdL6Y3aqneeVh5nldSmEBAp4tVYXSlDQ0ybPZPrTL2S8sujjmutKDHV9UC+FJM2ErCWvtu3gz20h9vy1HzWgCicBV+isrp476vCNBTRpTx/kOzAvFrSyB0T2gnSzbUPyDmsG5nvyYMqR7KlrgiYNJZnJQHOeET7oL2FBi10ao3OhJ/MFl8PPX9auYV8/Kse+VDobm0AHXXAWMgy08708DRJ/cowHzTQGmhvdc8mbd0Yi7alkLzdFqRzGnnfAuqVScLiSyOchPbfWL+Zeq1R3Gi3FEgbpJ2TAznQ6gkv0wbUSxmv+W6JHY+8acbfpb9a7RB8QMqOQEQAevBvK9m2hqbGhzeLh0+PaNen9uhyQ9k4cP3x41lPVY/Wr38eLgnIavFZ4odfBCAJ1XPISpl3By3ON83chQOtA60uGHerWTELSQnY4pZRhHXNl1ca/YkYSnQ1N20PeVoA9UCm/W+Y7Q1UiDE9lLbXx5AAVlYn4T43Yxt/KlGlVe25BeqQeVTCoJEwDQrCeqlQTp+HfXL2Onwe+sO8rpLPtbVfAAtuk/szLh8VLF+ER6VDX5l0WDHRCdmmvmKDQM8X4IWyAiKDx9OT51UjIpZFbtTTK5IXTTrID0JvjXmtSquyueC7oHIlddGS8D1aLdBXvh8EyRzvNZYw2Z1QJihhOsBH9WU6BPc+jSb26bA0C6HYZHIB7mMYnTihTRVRaR/a2XKOXs4fP0hWe5cQ0OEr3t1sTO0thZF2jsWV1pHh84V/kCgrvqPslhI4caFmqFu5nnXseuDOGXx6UHTiyRociibggvELEo/8nZfSpawgSLBzUnYkLsGv2NQJkz/JXI+6VCGq6MXSLFlqczYe5och2GoDjo5RneZikznxzrrHqWr73HHu8wCBe2gYxIk0jUqDtuQIfTOQCw9jbPOM7xd6t5F8QDhXwY4VkIpynrpCRiw6PvnBl4CHaHjI8j/PGuCM0e+q9qN2WIn9A5EPYHe31MVmJLRs+2tLvljhlfaoBBWQO3fMBMpmvkwBBj2V7aD4na2mJnd+Hh5SERKjTbxg1wpowaJvJFJvE1lnBVWc4mmL2CnsD4ZSx3dPyc2gc/KJAimUU11SmFe/PETyc46f02TVmkYGXnZb26yAT/XkOsxOnaBcWwCdCoLuVPln1XG6LE8YwyLnT/wrgiBDQ8aCXiLFG4gxAPt7r+CP3BnrzvpbHzc4dXK9LJ/N4T633FNpsbWm9Ic3vTfDqCpfAfkyBd61KcgX37zbJ2YbTGenPCIYvfS7Zf74hK7BQ4mJPJEFzIZ4OP8eZm5b47g8CDLTsVFhDu7K5dllcV0KoQyNmDz7bfsW72dYa83pkR1YVJ2HF6RZFxOzMMX0cFI27A9HTjetL2Be5LNa7+TEGnku0AxRJgCmJBoyTvBZBaasZXqDkSns4QHQZEPEc8u7cet7+sCumP4c0S3gktjdqZXpedU8hpcKKbhqdZ7gNwvJMXnIl6+mz6kud0bpYPtSMxd/vBZOybfwpf7A9aib/9EylVWxbUos12oR6oS8VUAvjcbnL5ymjvcBB7XTidYC6iaAtGTPgjmRkeu+P+3q18S7+PqGcsFrF1Ezr1DNuAfU2xTYpCBuIemJfLtGboFP/urhIJri7uLYG86atbx7fUkR6pI4FaglOLNIb8D4fiIzUV9/B7tPCihtGtnmGamYD138YKblyQogG+JF5ozIEGws4lq23yqO97T8XtOayb04h3ExZscRbt6w50je8u+wQ7LEOUGuimhtrhTsxTexCp0FQ9L+9PkY/m02zW7Eh8N6WuOU9QJYRsZdGXeywWdKyQoOHINqmaoH6AF911GtG9AtN1XMYnf8iMZkJ3Hhc/A2Npctc8eT2sfCDMNLTUY2lhLQTzXnxxdsqIgs9vdTjCSURU6oBcrZETKrYkCpdpTmsfOcu+/EhETHRhWnt382WjLYJFqs7igtSlOR27igwNC1mSWBm2MMQQKfy/jGW9o1O46XQveqPdFN45omlULlOuILwM3ktrsAQ5nVaUSsu2S90/wpSHf6PebkR25LJ4qoArp+DnTcHBfBmSopE3OU4adivRZC4nIhOtDZxIsCnETpfNAT/dBC1vDaRsnX4booSOvrOc9Y5b47LwLtH1Tn8v+DQO3ci56SjuPsJDdegH0zePIvMe0nXNToekn/hRBMyFO6fQY7IpOJ1SR2KDjMBAoEokj7NZHHq65z+izk1rUphNF9ZLJgNKzO/x47N9cUhj7ZMOHuIsgYt32QVie59V2dQv76jOWJqXz6eiVXJDGIFdcBi+xUv+lFHajX2GedxEfgIoh8sTFDtEgwc8BkgXKwx12RELMCHuItEj9tiN3nzak20saCaahL6msWNSs92A04PQW4konCbpDZs/y15/Gt6wYdGvtuK0HZjAYTwwlCKjEoZIpP2+qj3oag1mTDgh5k8stsueIGl4d7sMjUztRxJb485RtyZstyLOgHG9UPCLJS5uQq56W7Qos6qwdxZ9kZQgIIH/BndyASzLhnMR5VLZVNiaieS8BSGCSMDTDxz1CXp/ILS21h5Yhq2U8P/2Tll74gkEIlXBRONLasLGLeW7sdhu4suUoS0kCqv76OoMCRBQHyoLcm5GWkBJBuC5+1824qqzNcStohT4Kb2e4M9UvU7cZ1FQSo467n3KfHWev94fhc1G5vNWiFiv8c9gxFpaIY+vGHmkthy/sr+oaPakU1Y1aKjgCoayEtjlPbmMSx6Rt6asUQASkMaK5RCud8OnFcGQIvHTfbSljR4MjnpQnsVx7JllnaGkJ4jw3NHWlGZ9GtjVlEen73tXfiErM95Vzo9jSfzQhnPnd/gYBtqzmrpNLhs3tgTZpi9pAO3tgSf/gHbbimMexFq7FG5enwxyvtbBatsCsDoYTqpH02sPipdzAK6bF+bZT0cRwhWJlQzoCkJDxFj+4azsXXYMtpLNqnU8++/H3sr8/VW5Tqlc0zFmrFsmsZe7KRERxkzbS/ExyRkhDoSb0uwagwpmZLBEfzWIZxNflQJ2Nr0WNeYyW4ZW7Q43/LW+rFeZdFp1Q5fYt/FjGOQ+pT/jONdiQgQKfMDYLd0rtDy5ysb7UBJ/xGSBi5eRhZ2vLSWMjXwq54kur87B6kSFCnvEwhd/C9INUbNY24z4T+CbTG7zva3a01n+kCxmdc6tfy84NHV/U/R8WjlPoRDuhCg/7ywdRcSo373Vd73LkK/37y2tamoMvd7CJLptp67iVyaAuprZnchXCAn1p/LgYbwvXxayP+BLyy8Dfi0jrHJBKC2dWn2vivT1wedfIX+QzysuITtsS4GAYSkNIc01l6tr80Hkt/xDmbM5i+jZ8NgVpI64uWFPf8FY6PUZMSEt8YZY6udlrH8h7VP3Nrv2i8b9s23LbqGU+zGGaRBmFI6edunZhR/pkPd2I+LnFnpy5wAn5Xy/ZVztmomLQrGQcqkKcVhlYrawh+k6bWXkfk+vR05ga9S3Y49WWGQmoij3x6FNf67hiWM+jH2gjnQRDmAPlS8q6xT9ZdYq+gIKwooOTmTg/d+TP2ThnIlbPFVwu7FB1oY9tYm5LzEmTRzPKiUxLGIYZcoZxmJAh35CH+sFFx9Bo/WE/bZJZzDHS+fCLRDTWTr6L8NtikFIRhn8WqwUaz1nBk7kaVn1oMMjGGFKY/1X7oDMkrFOFRvvzFm+09ykLrhbKrdTSMEGDOrn2IWs6Vy64Gn4R66+P2/06QRb3oGwv/mOSAtriIqyxLs4g1P5f6TrcouiKI2beYBEpl8VTLrw8mYjBNtJuodfQzSQcSPqgMxPgIPj6JNT4EPuIaswwTMDEajSahkBfWqg5jVI/AZ/kF/uu6PSJgukYa/RohRkt7VWpfKkHaaRvL2Op6qkG2qgww5N7tXq+Tb7jNpl3nZGQ5zpT5JbO88e1vtlwVoqri1Hl96BRJIMODSSgunHQQm7O8cAVC6uPBQU1Ra61gxTNpD3YzG04IPbrJ1j+NIuoZHjRW/Qt5DwnlsX5MKKa2bLc0OiI0YOp8wumOiGkh1m6NT8/gwktDJ3rDgqegx4EYNQ7pWyde+KZnbNE75Faz2GoyeQR3FPEEsnDAiTcPKh0rycI0ktkRi+8W71IkWcSJhYZGWMT0S4vWpnymgaMsfbkOMbfoTyMtBwl6I2144Dn8AEUJsNErynS6L9fo2hy3/hsSKSZpW0RCIiWl5Pz+nHxZlandm+ykFGpxGMUHiwvaKp0YmzbFWOMbKayADoAJtm7FzpfqSeFnY9oao+XBomFiioB4hA9WBNZt6sTuFGU6hBmURyr+jfFhe3xnIH1fR3DRQJ6vmeP6yuUqj46tGF9hC2vk31kus5bNmCCH4Fq45aj+IWvJkTuMp9welmkZtfy2sRIKmwIwM727Q00dz3ULn314QIzPgg/H1UqAA9scEHp+P1LgpsH7ScHqPm9TQ0Gj0CNdGd/i7mcKimS1mSCE6Xr8OjM0r7j0ZJ6NtMh7Y5sbDKk6808Zoll9xy1d0VzCYnRpic8vlrUqs8piEYlQO/6Cr4R2vDL5SJ/v/c2qJMM+zzXAX6NA+V784Vl6B9iiiqRiE0aHEO6dC1aREItKFvv6alckKVOQFbDAQhAaF3wuBQAgYb/fysC5/A/g6iknCBAnu+/ulQkxpIeNgndyEHj9YqQdq4+2pdiRZnjWI/i7p/vfsro59F6l2AIzAjjw9uqiJXnAD1vcCaEpIOAk9hj9f4x6Yw0edPHJaMf626sShgrQKPijNa025SURGkvSBU1mVI4oSpfZbtsiTeHOIcqVsl7ucxk7XGYNhpHNSm7MWcGlhfW/Ghv4KE5m4EtlTkSbD33cGNaIvnghFJOL3mJf5IqLIm4Y28E7cuaRm8dZ6EkC8usQKxLTrswEklxLp06EymN4xpYg/+5OsMQSY9IA2YQmcoMpewrOmo4Ag2MlW9agTXE2ZbgYajN7Gp4sIrHAXbyfrR5MG6HUviZCIDV0lB6KvpHF82Dl9Cp9yqU/aVRNIVGI3Wf6luHCAnoKCKe9dipVAxfviZpXliCI30YVJYPORCm547qfbLAoHbVaP9iHyouvdG2hBf8SBFlEUNecS5Tq1sLyuV1X87wkEYSj2QdlYRIp0aV8wSkgRZ2R0bdoV3FvVpYG9oSMszYixIWcUteJezokm3M7VoMOEMJWffeNj2cWvlV3T+gQFSXJcjS9h6Oc7UAWggDo2wa8uqvBm6s7y0/3F7xEk1upizq3T8/omtUBiarIoxydNjFAmzANJt7FRovQYzVkNQs9f8wLtd415szoWcrc2Z+0lGg3Zw8wzXhYxCYeGb8n8CspTLIVWUuIjNYOpRDGSK8BfHizMYtQqnQFUGw1A8Yk3DRKc+8sa8BXyW41Qk3LUazNDmD0Nflu0qfTX0Eu9KhdeAu5K/0xos++BSOjy/ufrYE6uTGrtqPFLPBpVzkLdn8rX/QqMsvs4cevbFqq4hvTPOYBKyukHjFE2oRoX4ONFqN/hXlv4PvnvmFAtCCh0mDvCeRj+mshAmzfdq7pP4zBGbKAewYpe1VLm8ikfchvoZNnKDjwgcz97dPHAZZRR1+m3hm4JT7Q98WFG0T+9fcCZF4/w/VOIMqqwOZsWP8kS0Tw/nC7y946t+NnL12gZ1vfzVfHXaQ6azKrnQhitcN8WSds9FNWgIWMSyN0sDzRdWv3+oWC7tM00HCjauREvGfs2YSL5wfNzmxRNq537FblDgNZwhohcs+450VUN+059UgBQPTcWMI+aCjgSS0AiItTLWyEcdJnC3G2VfnMLm911GnIitc7m3x8d5gkFMUeqBjXHiR/PUMxaZxb3YAeDAUVLbFpwzbuvqD9/cRArCQ2WYYg2BjM9liZe3y319hkoXY0UG9wjYi63l8n95AAGejNM2NYLAhZTrQuCvMQ1nViyDUzZHzu36WNGbJm6j7lp+yopP/86H+9zDgkmaYjxVkxfLaQUFUHghuea3qAEMDqqJlChDFI5VXL5yqTY6RAif7Pru1DmJ44lb0ppozArpFjOZY5iBiBSrgyqXe+FBzr780sLgrx0NmSG2mYCqHSQTj0SS6OXR1TMOFQjqpy5WKlkhDN//qPS23gPHEeWjJHmZSX8oJu2vI+pa7JyF9jEGc3ui9ZDQOZLiMKOYJTXpr0gTVGqBWvAKnClp67T3pWCA6pMsVkytAXNLpYD20qfy0xIsogVC1FYkNpjN2KslWNfuiEpGBttaZNIDZy1HJJtXILCncixQdy5eUYlqalY5Q9tLvPEE25pcrKwlMoT/rZ7XYJg2osHb1RDjhaX3gERSPq2BNCfF5OlGKwQuAkSfnQrZL+EXLRCG8lFaZ3HP9iX9kzJ+SYAFSZh5Qdmb7vCVirIvLRHBnC01KRWkH2pT1NjKaRI7NZpuQAYKE2nG1tDriKWt8QUMmAx0YKIALmeFFP0c2tHVGfbY0603XzzeQ3Kpi5HLCVS4ENoEh9WypjUo7DnCyaTpEqwBgaBqK2kubv7c2IkQKmc6FhDCLHImap+VRreZILMPrskdbEzjnl+q/TZBmlnscNXdD6I/KJ0XDfgZJBncp6JYZW35Erx/Uavgm8a1aFrcvLCIOrVDkXRiQA+BvV7OjjZZK11HRdIRnI2YqV8C0TaUCWs+nOCzSHQNezY91YFHCkDuuHVz1ksHA6ber0B5Kaye8dxzEfLqzHUdVQ+eeBUEzXYaDiaPpdua4E3EAZoxOPUVRj2nrzob+SggsLCD/ykT3ba4HsotHDrjUIBZVejbqy+gOHtR+trBaiv8p4oYvH0Pd9p3tAEqYsmQiim5FLxx+F1JuNC8G2xzf2e1/dWFkXcMp+7zM7hnA6pPN1j2FE7KDov3RpvkoQTZAIxEDrOADHxSHYi9SJBQtSKrikoGLj68+B7fXy/7Uxu2k85zCCclqbDfYFFJ9PmHEfK0/2yhCxoiHSAyw6vjJowJer4eOJ4N9OGv6CQKUYztNFjR23wx7sy6WlZogLZH1x7RDTEyzwwFmxD4zxVKDvup3UgxFso6qSBRDwTLhFCXGebQiZdxAIfIEpZ2yHT/rAqW0t4P5JS0BQKKT9XYUmyK7OASDixMqHC9t5hTW8Rs8iSNItMQESgNHiydvNPx01eVXscHAjynSGbchkDSWk3YK2nZzm6suIj3DGC4zQtzzrpjB3NvVcKLu1uUkTfT8u0jb5kkq4dcHs+mxrXHVdiSE4jgDotL/R9tncMhlio+HhwcMeOxg7imjiqLuH+lftp9ZY1+c14VNRnnLf5J9Cab+hNsvojTChVpoAFf2X0u4mcPGlC8C1xODfUWQtRuzPLHjNHEjG4qBRtUgh5wXqJGORc8GBuTk7pvfwVURsZQOuShMlEfYA6vuOSa2X8Mwz59D8UOkPgogKTfCPcGY4gSixwVatnMkoymMo5tW43LV0o9UFSDMnc9IVdrQ8IZGjvoT3JofaXyEU9ksp94PVNLAfXPqMRP69vF0xRy20taL/esrSPYdzHp0aOKewy5SQmsvyBlwh3rjRZ+sm7yiRgsXkfwFsRBJ04I4+Ru4XZoOpWk5hmfb+nMJ6zugmIRNNGUSWh9A2I38mG6AS9qZGMaF/R3Gvui0OqGlBDlyU20Eybscw+ysSyu2iOSCQuQVW+QWtEZSd1pTvSQhjFo07UAvR4+MJM7xPz9OxPerd9FCRhmM8bGTiqVKEpeJwYnYAVO1Ix4GCRcn+sjDi0KKit/7BF1k5rsndOLEs+ic2kQPnGz6qO6NDbU12O767/y+qA6ughy2tVurZYH9HkfhK2FtQN5Rhc/pEmZOT1AhTc6X+xV9KjIe9YUc3RSh++uRqFVx0O3O2uR4pGi5Jp1af9tThLpFp2YctZIYvhTUf+Vo5VxcZ76SqBT7FFEE8Lg3F+2RJ+m9nwsLKInNeeJ2EbG8eURAL8E2Oy2SLbXzp1js4Alyq90n/uYItWd3SaJPFAW0vJPloHzErDjBlbAMhLt4ywmQyMHBv4dXGqVSjFpajdITPkCaai8Ck5CPy0FaIdITRzmKP8PvLYPnDIs20I3o8Dp7pqgkaE0xCyjZigbOBCAkC/BZOmMzBocccnQbYR/m00HWE0ooDS7ntUTCcO9KYwztjHJwiaf+qPczt+ukzOg531A6s6JfO1MqqYJylb7Htz6gNCRszxKZgUn1tCuZmIyPvOT4Ay3dFeGbYmPQVyZRsDDrNnuRzT9AC6AEIQvki15CPDENAPArPzktUJumdcSW4YgeCqQwx5qCzU6CBAxDoEsb6uB3Elz4nEQ4a6aVnevju34nTIptQh4Q0T+GQCtZT9h4rmMwT4H29MQugY6xAHUXOJeLBN8LutX0ufGHqJUVbxl0YRK6Gmos+Y7m823azbIB8vsw1DCqB5aZp/2IFyeD+8uU2L2cd6ZCbA1IdJfjpTNWW023ufwSfoGXKGzX6eyw+5e9BodR9VlZjMV1UlAog7p22RvH9HlP0DfqzhbuiMolzeFZSbEe8LGwUpGJnVjmKaRgmPopoTpCIDw0B69HkDaKJbv59I+hQv2jNo7EG+mQh4YhbwgtXPsfXrZdC9N/OVQcCxbR8P6dVWCp/KaTZ3D3EP0v5bZEsgk/8JNiqcTyJS25yJx4ZjSn9d4swVWm7htJ1IQoSBcxubXEkIO3l4FcGx2GS/AtCCHVxUAGrUELmZhNQUaPO3Xmcksr6xV3RweBqJMICtVznMmXh7Pda7bqZ1vru7koPTH8oM00AdICYZ2y015K9pyTJfAlxbJxWsMN3uPh69iKlnRptXE6XDu7+DiLGQnAEEFtD2IfpblVGmWf4iuTlWZAFsWrGDjx0zdFVVS+FrUG1R2tYD4mFnjF/z6HLBaNQhsjeqkpDaycpZQcRIA4fLbGxf0uGxvqgg==">
            <a:extLst>
              <a:ext uri="{FF2B5EF4-FFF2-40B4-BE49-F238E27FC236}">
                <a16:creationId xmlns:a16="http://schemas.microsoft.com/office/drawing/2014/main" id="{299C268D-D216-4031-8C75-F1366063961A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564188" y="1749200"/>
            <a:ext cx="4114800" cy="4791456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	</a:t>
            </a:r>
          </a:p>
        </p:txBody>
      </p:sp>
      <p:sp>
        <p:nvSpPr>
          <p:cNvPr id="8" name="Rectangle 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VzkBhDvReZqbGLfQB3CLcY1XkBZT4Qc7Boa3AGle898Ady+BaGGoic5rFHKvIqkRkwyMdw1jDyiWItLWuuSdJ5LZdpGNhbq2RDTIBgPB1UskYUIfuGyLuOmqpE8ADVBfMmVyG2wRujKkO/McQ+4ZfybG9tmN1OYIupoy/5stprABgOHbAuQNCG/WzUTr5c236M15D9i0MJcc5lNu164LX6XKvDmgpEbn0ZBlmLtLrC2jdQdpOSYMLo5sqA4h9I26BOedR2BtruMsGmdPhXojMCmvOEPqZ1i6X1fOCGG7s4mHE57xbLlm1XrML1SjFne7DASdNxOjbajbRrM7sHIM9qbP5KPezSyZdxX4fcjKnlvo3W7uiZ4s/83tZtBCGL8ZyNhee0I0UCD5vFbyLDbyB6FegKbLRZYD898qpaf7d1zHQsivvIunouAC51F4CNMG/9e5Ma0eebrEGpuot+fJke+J0MhimIRKMEH2dpewGiBhYDY0djfKGboAhSG4Eix+gE3ShzO0+SKQfBcL0pyP9dtGgcJa2H6CanIsI8ejW7L4BFKUYVkMvnvEm4rWiEDEC0swEI4mAfJXZ0TQl/46y6jCJ1QPV/e4ZdjbtTmSUngRLXblXRWv6EWMbGHO92TPvESzdsU4nonDDLJSgL8r/4W8QWkMDpxJ8l9iXiRul1NLm4IuZI0OFU3nh3WNDN9XKL+cMAjrwDbPDswCCKuBTC47lyupSLKvd2MNJ1869o6FKmWlOk4njJo55yEA8rmQS0lPV+2alF9N8+wftDdJs1BQ9EQ0avRArNv9spqgl7V4XJ34y9fRw5ydGwsMBXLQyjoUhWKRz5KjSQ3yPeFdAd61JXF+tRNXFj8sPVDjeIkIpDl8RMR4KMJBE3RRrxltkyloTUvIiy9n0ip/VNAhtX1NZ1OQWYItcezQgw8eMTz1M964zetdqwQWy8YwjHBuR3CYmJiUxQWBAEpxFMDJ7Bl0gQ7uf7IqBoKKG3FnWQRfB/Ui4FOZ3MRuWMk1lUrKfedfEqIzuCEYB9iXxaMl4awum08+s6lC0UW36LdyQIdhH6FWNIObjoHUGd+sGowbCNhlUrfih7sxX2AS3b+lIvuSmxYP/dB6irUilbxKkwvOxU2T5FMI5AUOGb+l4dzpAr8CvEBslvdk5ubCd/X8uH8F1zjsXlFDIJQiQrS+5196QcspiASRKowjcEkffjCn6nhKct+H1RscCDt2rZg7MRxkJj3gwx93eyPMwH6tSsKlI2W+JMfTzodUgVgzs8h0hQ6yYMyOTAD7s73GPsbfBY6o2yFHcR3HY/5hHM9fbyBmbGhK6TouLtIx8ypQwbhqTs+uANRETYOKwmE4TrdFAzpqU2/6Q6fmz/f6PtZ9ijcziYX02f/2c4t0U7ml+iwd0NlSZ0w6PIBKW6GwYynPnE5FJxwuSaeCsjwH+piSJy+Aw8hfgNSFd6LCWxFmXeNDRuPsko+i4xnYvsxx8vIojvDtp/Fld2DgGMl9hFBtg0TU9wJZwtQIA9cTkksQKS/iZ5z8PRFM+w69rtHyx2k4rSmY2ktDyTl026nq+tJFiUIQXBtjn83w8unB+vimAf/5Zl0oukvI3hoMZbWa0Q+yD48Qujnl75HXneiREtb1ZWoPAtBhF6xhT6NILnZgCy5ihnAujnZeaxaAM6UFisawof7EVyGET24RMgp/VUoB7Nvdhy/GKyu1lwIVE/GTQFSZpJgKD9yQf1uIyJ70MWnUYJlFnM6VrwuobceyaqQbLxjkko9OS0zCZQO22C4foQbFCB1/dv/P8Gsk1TEiaBFT/YW1/gqg/MNHhqf0vqOP7knmB7U51tiXabPo4xq4w0r+zzq/3iwjoN/DC8DEf7r8I6kenZY2eXoVOG4luaJu5zsNz3TnW/jFZ16jWWE8rP0/F4jwmk87NfknPE0wn6U3dAb4LI0h0p+j5morgx0Ss4GEdcAGNOen7+zZXxSHHuK0TvCWPAF0k+ZfXeZKHOmAa5wAt9AspkcOCfbBzzQdKIQ27ZzbXbo2y53j3k+sp2IpZuDceRXBHUTBIj7rrnW7YM9kDNeUO5EPcent1gZIBz5HIYuxRM3+eDq4fQG+L8eetHPibla9PvLmOPc3NSg59NGjAN681MD9kCOyAFf0jYtuo7MPa4qbHetNEkNtWtJpHWLVqreAtL+TIrLhhMgHOC6RTxlBH7yU+LL6NykGXnrOMnaWvOEWE5/7D5mBD/rL4Ue0gfIqd2SE8fGBgeigzOuLmVl0nGS8KBgc3vnUcCfCkZ+RHVzhGAodk/U1Rt805/hiE23o7C4QTbW6zyDooTOFrno2zfP3cO9ChZ0HbmLEpzCvro7yT1gROC9nV4oT/+HVIyeOvAgpDzypYP2t/l/0MMoJDwn8hyrVRNqprnGOt5Zd9rMGwkRLU2Zs+5I3bmi/1/kzM3KtnTyXp55NmZPebzC/EDio5sXTsROD7rbjSV8lBepEqfxU8H0i14v6afF4B+d6a0ZUTle22gGpeImivq2pOCrnMb+zk1MlQSHlePSPS0qytr6c03ZuIxMlXgGbt/4JPBp9oUnfeOKXgctgxlLTr/wjg/LwhoJdixIkvp3h6UB9J8kJORQENYnGqzJtZUwYGvO4zVuZNtBJVYFB8UtqKSnu3mFgt/EhsnuuhHeSKPCjfOQQedjPz/V+9j3Rl2SNVfcHQfB2HwMYod5cYUlc4Ub72Vp5IFmtP9Di8iskBItvFdup2oeyUhFDI97Fdcr7voJo8PHtV41gggRLtG73478C1xNDCxHAl+9IcCbmb1c1FJvUTDekgwYmYbGrfODpHOQN95USc82/8ELttgRKwiz17WlvmwA1uApuhRen4HTRKBxkN1qLwHVXJlQwrJ/CkRHxZb2fOE4DHtaWnws8dTb3lU5uuUX83mU8SdrY6kWgU+ABTVaIRqV25Kzq8DbhnF0XzTUJQju6BOMq1G3b7x+PFdqVK+alvPbB5hkPX70jmrFvPEnvBO/G+SOyXvfIcjxPLxHWcXb2fiD2nnHncd+EPALsbuflJG/Fg4Zxod2CoF+aC0zIh1d8is2G+/CHaLpIQbvp0qNscNOvj/MFK7Jkc37FeChjMSA0/Kn3eTwNKpvlQ0W9cQvdSLt3iC3ocIeGWU1q22F4sHnvo6silXTpDQyPgPwF8Ej30IdGc0rItOsD+DeI0/diR8Rcy/i+iRxmZI0xyD+AcqT8gj6JaqilnvUZE2lz75pk4jydpHOKpjdK1/uuM4BEJZ+UFvIldVHzf9uyh7VcJJIhUzDxFiyrzL04jEgquanBB/CSLuhf7gyrZrOkmeqBHIxZwhas/ikcxu6/vSOeF1VR+WajSO0I/ioTNHitaxSYAtzAp6ZaCpURfnwyxEr7OiAHmAiwlGbXAnaxLk7u02H/vllHxnzYBM0xTydKdkzhQA3PooQEEvA1xnxNV4jCZ4xhnAIdvl1XNYywRfCcVBS5yZ9l2SCcsNoipi7qxcQWAiwh20ClH0bmo2qWpnUSM6tvu5tTb6PMXnX+/aoN/FChJ/c2lMEEqL1IkDS/DMkt29rVicAJ8kPbQi/ban+MaTRkO/7nyYE7dS2RpNFd5/hOKym5gW3NNLvltidOLNhqrrvH4STlChBlar1zvY5aMguN6vmzLclPJcbyYxB59Rxczavv5VnhDy2Uinb9gfHL8mpgSmsem98XvnK0H/YMBVxHlx868kDGmSM9cO9hjThVYsBasOi1XecJTXpnwnEgBsexq/AKwwnEgNHPn0l31wjIJQjMJFIJ7sv59cXz0IS5ZEF5z16e0AZdYEMjOlvPNl3ZvFhkzKDNzlKspCoP8HnxfJZ6Qb3mLAAeqawiz67UmtZtmBEokHehOljzmNZMrfKmQ6ewV69qrefrd6tydIA36b19h8jp273oIetkkYMEQEalYdXbIYrSVmnD8AYnBzuFZy0TB3Mb6g1BBKuZ/NQ3VGGFX9+H2pEtiC+KNNylJhkQmdT+deic65o/SIFp1N46a8Bl9OEu3Aq3rL3Z35J0CAuB092ytB1JkNSf/i2/qRFxmOKCq+04K4WW8sLiscdn8SBYvhEPeeiRfJCBuG39g+BykY4FLRCB65rtfLdfBY99DoOWQsonujoBqeHNozdPBbjW4bq4lICTjFyYEiSXPiW3rZBvLjvE42dak9yyGMjdVJNTHjZmfmDk0sbEZ5mSN6wquAo0GbG+TeYIXJRDsuqwd04hnq3vuUC4cpGGTy1i6bz8eWIeudaE8Gf2lPoYFJxxGMeSEEELamUtbYQlqgrSAg/h1jkeK35Haf0kyVskN2VwQr1AvmxUBg63bmxg1C44iF4FGDEzfMxc1QbemSt/Hek+/MB4M8f8+5h8jxQRuKf2tKebUolDvVe/wtjBfhKPCGgTNIxJT6UWQ0TIZ/HSS9yOE5AK5Z40i28AXPOz8fy3CSdV/Xz2nyI3EehT0IWZ8YlYPEGfhlii1Jmc7MfaG2cVOfCsuOOFDCyYr4ryvzr13KirKo5Lsrpu0x/mvkgmRRQv0KTL8U0KZBRsCl3GH096pxNTlhga33GDuCzGsVTNpx2tqO9GKbC6oRPU4IsdVxXkCvNIOWT0htigGDfARDw9xFDWk9snIJ4lh9x+ZOkdbrKPtAHKXbRjXSieo3oge32Wn/Rm1RudEezsMG+6OcKbTsyj7ZngILs4pO9dXun80juZ4F54dkNAtfc3vLpstZ6ypSU9QE6x3QO9V3v/YcW5ckCYfaKBYMqQcQiINZrf2V3cLDEJ23hnaG9R41pSK3ZRQ8v00eNWkg2rYrbk9D6XpiKQqqamrCY9Gj47FdFCuYGXsUYA9F6q0FJmT67bYn6sEefSkaEHFdcmNKJgFX0E12hQX+oG+ggvGYAkLNu8ovJP7nEKVFJ4BXYXEJ6KiPOHp2wQUv3/CqOSMXDksDCJ4ISNDFH8v3CeRmo9oNnxzfCFoEF7rskxeK6oBBZJuTVm8Qy43zVnVQl/makMN2JUHt9mli6+jG2ESc2f3xRoUwOTUA3xClSSGbP/IV437n+i+GYr02l0OuFvjs+kDaf+NguOfUUlwa4FAGmwNW+D+b5Zzl6S9BIHKuUXzLX71qKWYMQi5wUns0/Grocjo0q6+5UVDPRrn+Ood1hDb5pylSjAuogsQIcp9KPvpWeFmCYIhQXrlfZ6kJFAls1VIzIEw625t7U6NGE5ElcuwljndrtljvYlsdQU4OL8HjlXakdeKCpNWIjVKY8DdSGBE1WoIcOo+rAq6d7RL3ggCv9Jf2Ywwicjq2qG6utWsK8gU/vvrYBh0Z5guDP7gbe0y+23d85SH68ybhEcUmdddsjzZtMInPL0h0Z+TuufU7xgGoIa08jmwQqOOSm9zZX2QMG5RUMJgGZ8k+XaqWWVt7zsALgn6eOt/+uGcMA++QvJg2t3/YzIboYolQqlD66b48EobjzDBRuzcz35xA20fnZtJ2C3q7aHOyliFv9l4594zNUSPmPJohpo5O5VlRzqiK3eAqDLDQSxFuYF1x5ENUEr+0L9ACK7NHE7iHPKPmJQjksyyAOW83hHKwnotwQqYObMlkxsNQ/iNa8f9y0SksOk8j3pGPi4Ya55q3AE9lvBFwjdajfZy6GpqArcVcpEFai5ytDPbY4gA3DUavf8UXBhfOwC22VZDmBI/SWLPQec93SGyeaaK/zoIwCdnvHLmEj9USiedIHx0tUZ0z+51dvwTCn1/ELZ4T5dKkH/oXuuzoUOwQczVaLBmj7wrHTIPKspmFCMdUK5RgqG55WoU2cXs9U0MDz5qX2dSYG76NGPfv1691fQvMq/Xe2mMO5z7mVXnLGixli2ZfqezU5OR+PPeUKd1u0zZkRwUbHKQ24jwp8aQtN6moJVN2vE9RQgqPQHTTDHnfr/oYxsjfH3cdc7MErDiNCe6Pvd1Al+Lwr/sfXR51n20Lvb0GhtiRT1JDXIsWcxdnxygaQjDbZihqC4Kz+/GfaHG0t3Swta6VLAM1whcZqO1Rh0EcbQGnHBDlnF21zmJCTQCO81U1hya45S9kiF2qS/02rai8LdMHtJf3pK8IQZsrVZ5a7QvkkjkQetTh5AHdSdOdvzmKCk+hq4J57nqYtlAOkdSdH4EcTR7XD+gplzToHG6BMj9NjyIFdpWuQmuOhfP3qpSc7QFli/GW0nxTHml7TdJQxnqBT6plNcelLbqQozIi5G+oLNta3mtDU+WsG4IyDjYf927Qe1HRwGtnmNY32SoiWPPcL6rxfzAoqaVy6AZs+krov9UXAmPZtoq6VgJAkh0JQKucQ4Y5rnjgMhZHQSN7SbIOH3xjVr+H3qamlbFUYV7J2lDffvZ7x4Oh31Xv0D5Pt1zDZu87qPs5UmSJc/huNRV4qpQ3hnZi2f7CtJmcapQ89QjZEfLDWMFwEsKV1Kc6CdXHNJv/3YAcwQ0wUoqeI9Zpl2nxZT9/Pc5wkjPd8YmWoZmg+qXyi78kFg09XbLVSbWzwdHaB7z/oepkVaNjPXfYU7Xr1SwfyQoqxC9QDU17edoSk/MljHM2+6ThUpxmYqDy5nbeGEhKk4LoWikQ88LwGPwVeaeu7E07fii0yoZEtLSPHr/EIegk6kbFhwnyMa19UXktktJl5wrZ3+8A2RSLAWs1XPg60W3K940+yyppY9oeBbyg81Cu3H7duvXzCl254qaqt/B+MQDm/8rEaNBq1GAQj2dJAJYYVvSmbwp63IFUYbUg1O90j+IMgcEK2gm2++54JVTkU/8jxnLRf4GGF2OOaE9pa44yyzcz4N0AMx6oZ+5eXmkndXa5kQaO0BpniOQDvw4Phu7WZmxOYB1Eywxp7Omyr8PP51pU7xZN23M5VjUdc3KaSS25rqsy3sSnIBXMKmEiNIpfS8mAdciyPB/ZHDMpVtfIkIl4JAOioYR7N6S99ksb2SvWfs+tceKCUojzYUsueTv4qvaiuL5JrYMx4IH7rVyExRC8oIRqdFvB0Dd0fyt0ZeI7i/MQgXBlycaihF6/J+ieTJZr4k0ZBZtft8O7ilK9ZSkbiJwPUpvm5gPxd+MNix0MVi7EmQBBnh9VPygH9XOPGl9kPEU0yYvgOdQd5DRIyf0GGbp3nv9QQiUzoRpUfw1XvanWEfypAq0WKelUGfcfhWRydTIsTMVuzzFB6pY9fQpnaFHA5ByNs/hIW2V1jBN1mExvJp/GlVmFk896YrGoqCjGmgrWsOxqcGYa0wNRGItb4Ar10I93iIwtT9vs5rDx5qy66hpfMsC3y0jJ+Esm4JLUWyMIK5UJqCc7aO1Rce5181erMseEsyOvmKzyX//+ew8t4rZcz5zMWudFqBOKkGNrtzJj/DU0dZ4Ayu3atns1Hj31fL7qrbuA7VfkiXy4CFgZoHqF4TBFhIOr/NL5cEKQGYl4e92FHQBZvrMQc2E64MYdIdgKUdwzbYabxaGulQoVcnqMn6RaDsnyI1lJQKbvziYxoiAMJ0p5Xsmsr4+EOS2y8HVkgef4MxzKmosbPZix0CownePbdqj6+2veNcdWYC7vi4Vm18DdeQjVVrNGVP3TM+lyrmlQ+Comkn3yiZhw8/NLROm/uHPhKlfaIje8cdhaEa8qDi4XJbTGlbH/sjrIW2+UECubHGiyh12WjsbNMJm6qyb7LS3bZkAnex6el82T+2biRoUhEbFGsERedMf2zSHV5ZmXIABgyyw19PllmFtA7IFTVgA6wzc1cfpPkIkP88kFCHpEu+dgKSrHSgQOgUYtwlMfNjRfx8E6RsnmKXpjalvpA0JwAV53HwKJec1Egelw2hxJ0uGVvna8AArc1tRHbLbvDdrVjCGRGq1d9r/CIaNHnJcTz5yy+waPYPsERYN018p6Ik6wWABDMeOLwfPx75FhfOY4mOLLcUA9BNbTq+Lb4xrOyBACITHuVfL0I4iEZfcL7yjXJq9YVOvizCVLQ52bjnLxqGRpQ9zzUDFlkKKYzV7213REAMzybZb8jO6Cnw5K+/909imybZVpb2mIlYlgLOgrS8Vxlt7ec0tZMLOjmQ7qC3FUmrp+U6b6h5b3iU4NyMbeGs1CPXxRtM0FOoiCz6klPMilqoxy993Q0QYOOzWb3HMm4T4kWW0T/JZwaVl2VXGTouBljvMPEgVzvu5V9r+BuXLq8wF+vJmE5128fOJHUIWFaUYpZBhrZihpmQZkefQORtr6Wp76tlK9jxgASUE13hJIlFwfflSTBuuurnnigzcXV3K2TqJzJQJ5lq4DduwjXycm5nqpPYBct/DbZUVMrjDw2Zpr8tXL+1cvicUrq+FgcE8seQIT1Haiav3qmWeAqcyTMo28qB6pL9J/MeIUUd9xp9Bq/VaK2xfCzHL1N1IyKRSjUrGaKQEZufaaWrqBRrjjf7lKv+vtoC2Dxam8aIAVdSD6kZJUTsejvnSlrm3bY/d/Ipf2TWpyuo6ZoJs/ozt9hlfguLZ4zt24AjdTxFgOFU/9PAQbEQ6VpNN8lWpabzAu2XOUlSw9Dn8+uaoUzcVbRt15AZvEojb+wM+JoL5Zxmsh13VN9tHcUv4QjHhBSS+ztPKwIxvSzK8ep3wqUVhy757JQFD97fgluIOv0QeoZ7h5DNODHMRZk147Ic1VJg9xtogch64VYMOG5URuoA7XgMhw5FwA9JzmAdGpnsVY8n05/63SbJAJ/U8d+F6C2cbK4kfk5XfCXXSwKz4sE6lvJtoJZDYwjwm3AN5Eu+BRt7mM5hQUnFke2PNoyG3/Mq1whOT9EZgXnbgKIC9FIbXvNuB0iHitXovwEjDsOvENgOI5MvC5ByMnRdD+NJJYJI7uYx4S8L+/T1HfqSjSUzP2qGxkf/A+8Wr/Tfbq0C6lSSEwRKSnNmKm354Bg+k1f6kf2CEjEKGxZh+5m65hRJ1lPFPAXtmG2kHUz94eOb5uV/vnegWKjYQY95c2LWLqzZY3VnEVciza6/sIHhGXugPFi63YfzSYdFQGG/8kWN4sQKB5n8OxI9F4VaiAGeZkTTviOh8hrsXlIbXkK3u4/kpFr0NAy3HteLfB3dJEqnicif1L15GVbwTiq+QddONVYJvWO5MGqB2+xE6IOGgCR+vriUssk897I9uGY0FyfeLfuE14e07V9y3DSQW4HXZLKo9TWoqyTCdLWSG5l7AqIej44KofAsp//aRapUjK814Vlr+AJENPNllEjaZc9RPVs3Ct+YQC+JLD5wVsEHmt0kVGQGCo2lMCIyOYq1yyXvF1m/eH049FUbv2W5quA25DUK1UhTADyh75DMwQQnNlnOUSdBipOKgbIGzSaqa1d7IQrBBgA2mRdeKPKTyByTEfQTA3942lttDZJOopAliuOrGxUCTgU4RlARkb52NFsL1oJQE6kXQ+3UJFnO1sfI0YXyUaQM5LGSphVrGHy/wU3Ml4cBF4KxV9/4kYqCZmV4HqmBwVA5WdrZXrc4RAg47pLeNVG6niRSlZ1/Dny0K+LBViZvmI6HG8OX6/XtbF8iw3V6e7zGlrcyF/DBBBQiSTpY+Zgjc2lpXNodQq8x5fTqT9uwmhKn6v2vyxv8aSqZv3LejhfKXUcXF+9qji3OT+6wJ2DOK/e2hmwOW2VWBzD/dVsRRUi12/sAQ6HQKjXSplu7PIjcePokybYjfISxyPXP0vJ8zIEWVPHB5VzqbWkoGp6HZSbxxTR1azaHUnsxmDpC9O503L+zTf8QOaXFJy2Gpk+CmgqCKMuDO72KXm35oDDJOKLsCAdIeuDAAOpdlEey6D5ube0SF5aDKrTzE6nmg4GU4SdtkmxvkaTeiGKZ+eaGgJC+q5uW6OKeNQa//QQqGS/2Ek85ae2riA0yWfm/xCbM5gTGsKq9gKoHz7y4mgg+sJ2jiYRGjeVrT0qehes7zJK5G/Fxwz76qWhIDLD9WJJONGKKE4wOkL4r/4ZTaQFyJatBIjU6yhzCRk+JGlKmF8tiQxMhn3PWFx82xSaP1ROfe4zNncV3kls69A5xP7DhrEnSDxE0vw8b5JwrRdDdE4Fy6JstbZ3p0JuNtMOnsh6eviLr4vZeBeQ0D57fvZIfvcNkjuA4FLcfM3KXrVRUQXMpIQ1J8qRagIifN6OliO2ALQry93fNKcx1UBxQCLuqXiAovog//b9ohduyvI+4JRT+psiwXo8ZEllOzzEhLJbNtXdWeiWNa3wJtozZXqWuAqh2TPSI41TQZZQWSrz9Ub5G53l26oqO6ol7f3mrjbfwlCeAGqCxTgbHUCt78gxgDRC27clEt4z7Gb31H+042/+RbfFUA3BIAZhyDUGIag9rPO6vlCOCfiyvdIxhOpYiktudjGxY4in1M9qNN+UVnUSH4UAzbQfhe+HJkiNiaqeup7t1XthHM9f841BfV/GI/+/LQklndoAtAXl24euRIO2CpgbYks0So1ytHAO38D/lWFULl4x0N9b2FIn9DlpUyjRg38q9GzNcsYlHd5cT6WQLPAMFQZlg//dP0gCmQTQKlYf94Cj+78+BHYNSJmumM0msPvKy8OT6HaOcDLHKtQwbWIVZAXTuAfO2/wrICliq4azEFlGQt4IFy2dv5C5+d9o0r5nGLwIdhBVbo7uU+Eqz3voZywZO7uvmWrho34iRS+wOLeZ3OCtUhnt6MaZgMpgmWwX9F3HEyyP/ASLtLlWH3542HMhISozwEOldBYTfmC3wuV5bW1u6g7hjFFdH/4Kk5F9njYTYS8y3UuaEMDQhW/fLGSJb8Sb1He5q4ELBOy3qT7Yr366ikFHXfpgNG2WeBfHAJrGstQhwlfEc7zTSWmhq/l3uHU+Gpol1d4uaXuwXgunCq4FeW4dMbM9vDuiJxutOYxsNopYcSwsg037leJvQXhDeSkbZNKo6gUf6iOc2UTVTnIo5EnLlc0pmDhvCH/JYN8HEzKDymu/kTkg4dFkQflkm9TIn8us7dlvzYqafCe3ARQaD8JpMouig7D2mqSkKxp4T+huAUPI5LZwVroqqs2rn5pAR1c7En3tfc8S6v1whIJ2YS68W0O/PJdmhpS9005mY+1vM7HG4zPFvW3dJ3wdD+WfmaPtq+6JP0tYwJsMkb5e8Fd3M5g8nzxa7a2skjqUrR8cElcfybGZEfZ5wPlDMx+wSH36oOTCwJ0kg/iWSDGFT/eX7Zv71uNbK7Ps+eOYBaHqnyITpH3M6eG/9Oj2DKIedlN8wlZ9lyKtYkPDqyN2BLNywpiB+aF0B9QzaC93fIa+7/x7xY0CnVQ+Fg2kbFcQ+bVnkYn3UxdXixdpt8HFyNkjgPiLcYzE1CsVGMstfhZW9yuX0UUBpBm34aBM1OLUnrme459Voof2Fbb8W3nkS9+uNdHCPaoNtgBUCk9zt06O8PB7PSkzxN6MEzuQkO3s6uu8ZXKBWBI4tlpTTY1Gcq1qE/FtjAhPbUQ5xtumBk4aWp301E/Hmi/wvv9U4+vUr/dA0f5NxbYfH3w2ZqWOdvJkLgY2UiRSqjOlHjI3+ctDlGH7G+7p/Xga37tlCwFm+9aPANhNXH8Vt6btuEqmSaPNC7SuQRLQyG1ES+eVIRjMOaAuOS0MPuDIBjeEZE8IV10AMSv4KsHrUCSjCMwVo9QWUZ1JAqCb5Nx4sNz+Xty1LwzR7+qwI9IzQn8TtEz82jwcViwvSLnv5qN8kKf6QaBm61qCJkQ1jOivnoR6N8Rr5ad4n9G17oEpq5vtJgy/IE539Ri9IcS7nsGq3zl5lxgEjaL2kUe/Hm1ZAa8blnBgPZH6dfpNzAn9Njw/BOtLE2QtuYvauXaVJuNzlkhh8xruCve0goHQk6pu2+62p4HJTjbi9Bxc2zKRIeF9TTlzzV5BG0/JuREI/DezWMidNm4LN7kX1q94Poj7I4EG/jfLNiN6tLIrqEcQd8QUJmmhZaH8PhkFUN2KL+voq3aQMVlLP0S1lARRXlaxpVZcjicg0ahsaBHbyDauyQDR4w4jJdD+bKgPt8qUw8RIihQy7M7DUL+ltwkA7sItYTUN2MvGQticHVDckNOHd9EH26PeCDBalrdYk1sEwWkfIrgK4Lw+6bhACPTuITu9GUX0xMbgwJB01siJQS/Qgdlrxx5tCIsM33CuxWJkyLbLtM9BCjjxZcRvKhr+PdRIMNxzM2SGQZB1dZIzfMgej/ej8tYil/hrxYQ1JI52eNYDnsEpNMJl0aORMFl6gua0RXLxtup+NNi+nH8wl5iKax3YwFyay7CaXRgypLKPbBIxY7SgwagWRK2HugNO+ZPTjskKORuKq4n3PRTv6JuBNpE9tjdOC4RACibf2VGWXx0foLDtY/qZdYsROsSbAiZhLeZhr+qhOqGSKDDK7dxQxj82Q9O8vwobRE+cD6+P/EiWRSXT2+CKIIrUnxr3hd/i22B7cx7HTmarrARHWNOgHXUPvH8e8Ck+Uu5H78sRcFKfUf1hgsRhkbSADK4t7o+MPDCo1DcSGdhHgR7NviC1cPftroC6ashqUORjJ3xFWa5tAfKjNVGpTbukFsnjwuoceJfz/j6b+kXMwUPQodpNmRgksFmtfxo5NAzmTC32s/UUzNKM1aBWl7Pyzc4smFrg6sN9rO+sCO2Mym3P24MURu0a7RvCVLCS0wjWvIv50oczDqVwXziZscSxA9U0ZnPRTrvbdiHVysAG7spD5nqAb2PLicJffCdp+OB2pmNRmSrG3v3RY+KhBaocYsoBlZAj45aeJK32c0ZTxXyEqqumftiwQiqNu3ZT/WfxdXGYjiaDFToo2kst+0Zsu2aQ+hJ0n8EQ9WH+BZlipNAuOnOTgtnAjW4cET+fnipuFr75rcRbRccwX4XxSpO7hODDyyUusgV5FdsYysqsBeJgMU5etGs8/G240NPI7CRlDx4x+RLKCOw6AIw1GAMGM4aVqDkti4+B314+hMcNoBnB4YU53bH4NgOcCy+C20gVwk+YIWJfCeZMkJr0tayGJuKwyBxK5ufRgbqLhjEzJMIkmPj3eYnVlxRy0UTIqP1tnXHEDn/6nemZ2uOWaWCMvwWVh2YZxP/9rhNNWt6FcJ4UX1w2kj++6ndcqDHEObEwGhOAc07YzijXVS6g7CURkjiH6ku5wSiVJk68rFjGjZ8EGjYf4pYB4dcixRxw34/ziGFUhBy/bcv2lY9Jinv0AQjpWgRVI5Rev6rk4DPPVPSbVnvJzmw6BZOPClGBzsqeE/+3/VWD2Wpm6Fux6lOdv9YRrvkOenEKd9ZhPMgwNh9ovMImSxz9UaeUPjuAdET6nDpfivCBMyMPYClCyeOpHp/RKY/13d33lRB6pYt2HpIuuNNJb6r3z3txh9B/G49xCNJOz3Zy7J0XNhf5mGR+2R2lGsqFC4VB4dZGEcl1aXPe/OtBcMxpmVy4P/G9d2PUi7Op87eydQQqdVZvS504yFerfbQ9dAcarcyvtv5F+qrjTC+H8qROHgYRQODDaw5/ABA/pt6nm6vdnpSiqJwQ3v6AJD/VoIxW3h/Ni8Qh1AjmCH3Hn8y/ViCuiqNczCVvzIqwh3ovooPL4SeLxcFsivDuUv2bAL9CwNgYvNbJCPy3BjFeXrHwtINa3MEVfoGY2N2eFbggdLKoiwQtD+OI0CncNgfHDZn4vwAkyRUpSrIcBmX9Tf/RAgM2dWLISd7mxZs/dFRhHIvPpYMv8zWOfus/N/trff2UkghQxITH6Maa8GpBuyUvGxQphvK6e5QNjSfpPIu8Ni47ZpfkJWemaC5FsNISYKNCrPftFnOVrBAYb+77TXdG6TvLBJzOlI1h+z4F11kM1OsWu1uKxB6a+dEbGyDQMxC/+u6HmDw67RUxfSKLDvrOXimsuI6sjd0ZcKKVvX33g0uHj2NdYRGXTehgOUG45LsvmmtbM5lfcatwWqodAzfEs2M9hy7B1cPJ8+FU7zQVnVxjWSzfMR7Cd7YD9mN4ldTh9XS0wwYstujFNg69aXp64OLXrkfKvfRni6FdaxtyaZ5LWhrIrCqqLS5HNLO2BdzfxyMy+r2NXLnHtBvaVQWjJMjVROdphW0ndYENncoyWir+bdcEuLyYSlhxHKRmCFn8km1XuSCIR3hin1/fCjS2hGZnbCsQ8qa7sm/H0kHW4kymN39JPPa/89AKQYgILdAqm3c/R0ha/4KoQwgeYH38EZ82zUQfSIRut3IFZaNgTWqujoDLWGiDGEAfsU/clrVPoSjN6vl5lvwJSuQ4Q4TBo5LtA4rVHAxqcFKSJDOSqoY13HR9Qn+vwUX+OeD9/950cq1qg1avMZOSsb3KwDrChbyxQEktQB0vR0rFD8YBUrP1NBacgbLaLznNoEklCcCa1f4xJK9xnPqNetMBs/WtgfZR3pnaDE97SM+zZL0FuStZATi05X3nuctoaFyhc4JWl4T8U9aWB013pRqy7oaP/TeLFFUyNG2Ep5yWsFAAkvTrmGNZXl5+PSAGgFEzDBFBIA7Zk5UaitFqK4zlZzuFYP9NxHNamB8knHuBRyEA7lYVAnCnD+GFyqBajtU8fTd5Mjv9rsA5iHZKCBX9iLxoGr9zUNT2ZOxDT6lIF5B+FFYs2wLu5g7UpLaj+nO661v9OMXikQTU4PoZc+A8wRU5tiAyCugaF2Bp3aLpqxTaybEtoz1c5iTR7rWvH7Cpj5beG1xKcE3D7nM0cyZ5FuLZNl1My9AB8+FEiQAZMvEXmwk5kf+90Ud+wq20w7AslE5Tyr03pP1n0dtjXQ8G2TAncov1peOVTCgNe1dgWmkNLY7o4HQQMhuqc4dr+royVCWli2bT6hQ4cHIzbFxlwFRXrWVJ8KZl7YUWT18zAREDyYUbdBunBgHeFFPzz918rHq9kJbBOgDh/7ZAhk8VPkEmsG0btbo/jGLDuo/AidhqG87y/0N4epTeFu+ZEa8N8a+b1KzxNoP16bbKMxRlYqCvqsmpGCtHQ0lZhba5J87/rejMEeDqlsDNTM89s+P59QwkX6yjPsNzolMhLHdtLJrYbOWpeiGVaTQ9+ZimfQtqh2SX/gFEv04zLUdDZFfY9TNgw1wfQB6t56wd1Loh7CM9nAuioOaOIkSRo0QBD5f6pKJSLDrPmZIL6gd1JSsUa3QQS4efaQBeWKUqgt2z5C1qaJGSFNQ4GJXz+hmzenCgF+bYZ7FePThZaKiGX4FbYOtKnU7TifOLa7/hwXJ3n/HSUZ6tc7oQaR+lHETsfc4BU2CcgogVADFwODcad4Seu1isCvZE0Fv5if8QbeglXTsC/Vfa9V49xfEXQCmTr5yoK9ZvKh9sTXrDJkNx6q/mwtK9uHGIdos8+lDVJ5Z5KWWv49SOQgSleMw2eKD+9lI8ioWFV0Frz1uC8EIHSX159l4Q6BlSNVxkImfJY0hefFjdjy8RSxck5R2P9aL9Dz92qK1cN5REkaDdhpnls5J0CI9F6/38iecrkDFQOFO2K2XjTrfA8AFGKBfJ+RNpEqcrFhIF2vX2m7tnvEbD88SZDMdqfu0mECd0wlaCwbZKVc1w2zqAkn9IoFktYVDmh3hKNQkP7qVStCHcxahTVHlXUhtVBGRIEjcjr0KOttTF4FsCA0OJmntk9Gs+Ta1sr401UbDE8aYk/1U7d5PJ0f+3dDW5NW6Ch+T8eHcrj13QL6oSKUdG0HBbA3CClmJad6qbMY7CFg6Fmg2THirZxTpg0CcfHLAOUOD/jFCQH/kY07/xGDMVpDpvswFHkDQvmNu1hfL+aydFT8mqkyQ99ZTg1QTc+VQKxq2FQWQbQgGfw0cywzWEZeWeOPr9PzrUmKP2ECGC5/86izx0tqhPnTmG/L9Cdek78cRV+UJ4wMKtcCsjfRq0ecNP5SzR0ih2imKTguePaay5FDNW7JS8NMqinspMd8RwCeIRbJQHfAxqIPl8GFTpt/RRCGCbsd3pAhMGTiO+h6vvJcY56xmG3OdYqZEAj/78lDDmyZPIPMw7lvBHz3BFgO4xU/oTIY/f4JPITL4dBUA5abHYzX+BIaNXPpwpVI41k5yQuPVd4fx8yB/MIFa/ekAWKUur2OAwcvu+pxctz1KWQHvRxiNd0wPZMOlqk8uKLSRMteU7UdqvF7qVBAk04vEDllStf7T3YZF+vCF7y8eUGsV2B+WdtP1Lbfl+Y6/PuUnxn9rOzYdPPHwwEUlGfnMpHR0DGEE1e5GHjgYrZZ49MEHmlY1oRZYS1QI9yNX0iF1lsk5EaPb8Qzxjpml68xHmk9Prj7CxB5oKRtW7DjdnnVPICmM1RzFaK6luyLW0CRQM9nBC2k6nhnzQqTBOazEwucsl9rmbSbQNhLStWCtPDGegDV3qw2PtBn49UkAOpG9N2RlWhNrgRY/K/t7/0gf4kkgZR7Jz3FhJLtG+phJGnwEAfWxTRDm4H1LbwSpVBQc9aCD1RD+Qc2ot+rQwR2XEHhyT7F9unp20rfm+Y2VC/7GQPiQIM/OXCSNTS+0G7WxUUwIFH0BYT8wGy/QU92U6/+4g10OxJ9zprgbr6S4Ja/2D/wsjxcnfk+EyQnGaI4I44h4PrJwudFSBIoq0f5UzJU4qnR3X8JLip35EHLk5Ks+t1bBDqH3Xh+AYAgB/2ETE4XRHhI1qQaYYt3uxKaw8iwdbShk1KaIMqiR3waBSmIaGEsoVCYN5jhGNEKneONp1HAYywajTOZW/6yZ1oPoWBKRhfRrRzcfE/mi+dYXeCcE3SdhGITl6UmPOdIcPRPwm/td0gpZ7fXYc3cB/o1jmBNUtQpvtD5c6LOXLRakS52ENBJRLBnbEeY7uhR65r2ao/7zDPS6JE046Yde/kEI043uljFfxpCUSqz2rfVzkE3fgOwk9NF31icquoAHuWNTebFoo7FFqeE+ny++9UiajpbojbHlhEV3mPyL0P0PFdJCx/DwUXFAE5bW46rRROvMJXpYIPHhH6w9kwEx0gAEKGl1R307KgUY7w8gGTK9Jjp6WgnsPbhxM0iWLisFJTjkJVrgQIU+91aOVcyEX17O5rH3+6HZpLOWTHZw8Onr35hWdikFvlI2jrgiOMXPrKHvt/2MRu5u5GzWErjy7VgFiKO0MYKKlvpb4L5HocHPFe5JOoCq84jWvAdEiy+59abz3oUA1IL6QaXP7WVQLTldqfvQSdoogXXPM1ZXYA3lvM2RJagq9tCPNuCjsMl7tiP0HQOoDs/0EF/Ne65AIDGVQbKIQIhtdD8sBA4YSwSGvFzEOAKMF14dHs3SO9saXOKFvAFsSJenGBuNkzeBSEBwdJp/FeSRAF13bMOdW3ICeD981wds5p7pK22qsx0A+hYacEBE0tZzbH2IUH6MbmVLJPeMIhFL3q3HWjIkpfSiFn7rEC25PrWMj/uHMkPI5Fr8SAMPpQ1I0+u1DLv8D3dXtCePABFtSOX42quidwHfByjxTvoH78HIakhhythXnSXkGMRTqZVrenYx9SW345qrVKpIs3Ura03qodUBP38UVUoByr7bvCQCIxASMqFhmRM0Aus1BF+HqzsA4N7bbaoa6p+5XyWZjAhnV/9sOcShh5yDPNhZT0NUO3KGT0bp+tlaf8M5LCwn+NEuSgFp0l0IfG8x5MfhvYXb8dffXYS+T0XThksGe5NhN2fIuu92jA9/D5/Xlgt7FPm9h2yPxcPOJ/Nfbrd9QtkRbKJo4OSGGSrzIDONHMZmJ1FQ4OrR21PFlsx+kECi8e5+z5LtgCSLTyd0H+4VX36HMlk/VXTfjNrk4qK1xZcbA9X/PPEvqRSWYa5c3qGma2OF1pAy8dyU30b2U9DGCIYiZmJEaWzTBkq+LnRxhQdon4LoqDcQMYwnK0q9KvnkkN+ik5GtgIpo4+agRI6Ku9xrhxLfKSXoHiN/LmvxRhKddn8lKPlUfbYTI+sYCq9Glyb2PoOq7MOlko1rKVWR140FYa7bByGreLnM5Ps6vDjA7Etwr7TSinOrtbfBvkJ5ssr+tzEpcq8s6jurtcuylV3HobR0izy4vXcLsIdltcMZ13JcSb+2FOFDqioJPkaAn0h8dBCoNFgTgWkJos9Xt1dDrsQq5gWDyuTBqdF8W22JhRa0oE8QEvwqG4Cyy8do7/pGoctTIuzFz+m4OU+rTRxG0IIKzhOb85THeUsL3oWeURyi2FUyApdHCDV/XbWqDHrxvAdBVuGHmm5zjsLaPJhwlgI0l0E3hG1sPY9o2O52teW1pKWZ9cheAUrqFuTbO/zhibM5etT2qu8Pt0fiVAoxSMF+b9Y0lcYVuWmpyaaG2oxwXHhiX8OvnImEA9meVkjnorjMWqtjat4+CZL/cFMXSZ6zvluYOymgTCZJl0bs60O43ZtViltH1N6MwxTshqMs2OgFCiYh+lQ4NN1uyvax8QwPBSujWJj+DakfmOBKpV1A12VA7k4P/utLowQQesDEStpQUmcB/+TI5b6h72ooU402f9yRSSqAOVAOqD6ZqY65BjwXReEWnQ5Gl6XW98JX5dV2VqRoSdcBWHKkWoqgZvdT1Q8KX1tPvHmj+qhBm3Cp7fmz1WO/ASLo8XdeL1ZKhPmoRRs55jsHouHG4NbrTFHYSsHssRP3f2H64LArsGrA96bgKWuVnoYWU9tQQzqT7dThJZ1raSlVJmqytMUi4ZZxB02GojFctrYN1vXRIuv89C76YVJ7EjGzpFk1nMAkJ5eV4njXJzzmBOsWJmuzCXc2xus+47kgbXwmDK9a0CN6LPq0pH0fdCCu64tbxbe4wzzqKjwH18utXVhg0xWH+jaVjzMFJcof46uVvR6g4jPVJBRCkorJ+JsIelIFBANqbNgxKs+3G+mJlxRS28bdkZ2BUWoQvOxNE/T5hKfzyJXepQcCJehu6CB/RtpSk9WfNQwiPYgs2+yOV6P2BzIN/BTzdtVIhsEjM7dY7ShKRwQmkyjvT/h5qUo/P0/Yh9qZScUA2CNrqiADvg2FVWHuXXiJwclB1tA567dacKJ2u6d91LrKbdiEEa/ZvWU+WPyjJxaD5lxAZLWEDFxwkcRCc1IDu/OZ8g+Zzat40JYVjmzYlLkeT7XvyWvdfm9J36frC7IZu9CWnRvHcC1oZwpWS5eYtWj1DoN1bVzUIZKHnjCLjTE1Tp7odqx0iW6zZxSoJsiERxcTpKqMFUX0h3VfB2M7le9blHzzuG7NYMfQEcfQSiMOhNIkaDkmjO/BB9CHSs5DbIAijvqduI7wsatK1OU1aMxjjPv99zgIrVN5pXtKQJ/6xW62dNr5dXL1k5c2zeyzEN82W09kPrneCjLkPC+opgo7zxmW5zalfDnsAUy9JOo5r2la9C9sNx0XXNJy7qqB0SGVMmYKPnw+Ap4Q50imM9eQxWV3FIuP6vrOeZlica43fM1rkWisBe0I+GYb3PhzG+4ns7PjWsIQevuUg1tNbDdvEWggIuEEAlqY6R4UyK88+prJxkEm9bi/kwUUltb4lifLk3uzYBEgkiFdALPbwsNpgnxEsDi7vUfX6+0B863/3kSzx9gikLNhgWaqVl6odE/ilcOiipusMvvkd7ydC7kDlySViW+HOZNyt4HsDpV3dBR0b68t90knhHVsQqvT1RPlmPNoxMb6A4c7xoD7ZwEzjQWAfNPSYXQ/tjpsgqq75nbQHynSOeCbSCqo4nGhUuKFHs03kmJZUHNlg6p2bdnQUx04vbdxqyDxPvXXVox1UngViNrF+AOy24sQkZ2mKG/XO+EDJsFraaSeGoFp9XBCgqLNglId35sejQWV8nbtM7lTjQ+Y6O+BepFXpFMh4Kjeoea7cazOSPOaQOLNDeohICQKWS/mBJ25mZQHmUMxq+Q21xcLuLiH3OLlVvm9HcxqrGeb+tPbFdC1kiizes/m8QhjZkyOiBp61eGIZKAiNVDUeNyPUf3uhA251LFMq/5BG81K/4eWpixfpSkyXmyN2OzP82SmssTv0PWELmhlu0VTOPdqy+KJd4MUjOJsGhMc+n4y9iYd6fWu8KvsruWoQCdRq0d+uHe6sueITepgfNuTJlNbhscgwE8nU56SDwPsq3ufm9+LN/m4R1A0r2kT974Hn5LhGMumcHzjGTsl/Pm4vVJmpySbP7ez0qWekW1YumveneXcKI/cT/Ideg41exWzeoxI7j/9OJcuaT4bmFfm4FP+cVHtJnknWpBFwZwgUi4/Zy5yi1YjN1Bp7IWJt6USayH9dLMUixVPsyUBY3nE/kQOt71OB0WZhRwDGdsxvpLaaR4NOo00+uFnWD5Or6DsEJN/BTwrPG0L2PzdJJxdoMdtU7qT9ApLI/TeA8Xvut3gFGNLSnTyT/Y6T7+/0yyxqNW4/yblunkVflk56aXcoMoruHupCSUYJ6eUsC5mkBz8eRKnYoxOTpPG0A2ptzB/zN//SNgMjVCxPJLT9m/WIfBcx09nCNGD6p+Z6Y1AKZtKmWY0cBaDWfb1T1UywKDUw9hDdn4qtZXtKt1FRufxKkwPFwzWDdX8+vQIcyqulFyCPWA3IAEGrGB9apIxc/KPkQrDzs/W8MjDWyT6LmFoCDB/6ius5cM5U8/c3pzSBAk+rJSRRm4jSVR7r0KNfGHvMwKNEwfaJlzDApXroVWQ6HyDV+mI3uAAkir78u/quW/tQbHUpYp3P0JE98nCJ7PcyQfwfoQ8pyORwlCqrUk/dWBNG5+8kqcTp2BNtK0r9nWgesDpn4B0FanICiaRftasyBeGcoiCNpKSQ/8Gp1NIHulhNVYBS8Qfgikoc/CzLthPqFAk5sGEyjBw3OXfMuoK87Kzz1hrZAdyRsamSdz5fDxwjp2ir5rqTpW+Cb0wU0oIfuRyMkq5CcAIZkXRIV/LW12qRQBpXvOijOMX3IphCpojJs2hp96q1As6n16Gg8cpv9UShMlwOi9gS9EcLrsh2fHzLPgPqSxLI8kbvbcR897kKnBvBxv4D/8W4ngdRv1CxxDHo+fRbXTezxHrgRP+fxwiLS6DufSC5hSDQarHFbGYlNbuwZb/jjYRP50WqEFNRGBPxa3ynhquDMnUwAnOnkUQz1Jff0DHSKFlY9amttfpY4dFinEtSfqTvaIPE/35o/t4o9m5e/wZKUc5zl1vFg4fTYQaD8hX93CH3ulDYAd1zh0lUgma0ysNzFoQpagozHicWE8Knh7S7QvVLLAy7kJm+IbcqMrWv3YiTAnExgQZXm6yA5Pzcj+UBgKKRo4kPHwvPkIZS8xhezSIf4ds3VCZXT+HuquOkIf2UiaJ23WHelx/3YPAeYfYtjNOjGgdQsZ3JH83x79aXbZljk4ga2bHX7gJjmhL7xaoA8e2yJBGdkQfi9aDq/5elVcFDYCWysAfvq4FA0wSx92CFUhse8TsWfyIy4CeT4QFjFM52xPi+cxO2fRWZzETiJMKWRtgPdFapI0w2XblydwFmVxY+r1t51VzVOgzZOTd5uLktJjN51xgxNz9v97pXVB+LHVeeG+dJs3W8PbZq1VmpDXJkWJl5RqAq4ZCRF0XmN+zUH+bCGugiPZwOp/Hl7oiOZuELhR17nEoStUPzVgANZsj90M7iBbEx5CsdQnyNal75luJHbun4p/ULRt+xCGPLyEBhSjfecdAhej/WVmYCc0753NGCBGJ+JCMcg2K6qgRSoz9OCmuOXQpVBx3IkXlJ1qHVqj9rn/y/EptyegYV6Wb/8mAezDfrM32AwiQIr1FnevXTrq7Fj6GDdFbkFAFdtuH1u05vzADio1h+/O1OFjsTkxww1l0CRA1K9SOOYg/K93LD30O+dbF/JmpCVsLQPVoVuFL6X40dXVMWayz8UPmpCirTxcFoC+Wlabm41cxNZAbN6rF+nJK4rAV0G5Amr2CoRtm1eaLdFPNuxiN2FmRuQhQddW7nBWnOGnJkVt7Ek7WEIUaIu9I24l6sCGnaXoTZbY942VrToE/t5s40LfE3xpIL3U8P+HKiPhyOI38rdkegwlwG2o+0UIPy3Roe4oglYLWqtxJWmekhqs3gEFCZDeY6tAIxPzZzJzvJZ4/2iUt5f+M8wa7WPDnorZhMb4zljTI+Db+Sd12NeBjNSbiA8sCxUwHnx9D94iX/MVLGa0cNAxzzJMLkrjGMy+qvGcBSsfmoI7Dlb5EuBb4EUZ+nkSsjtMt/tOOZ3ZYhWT6yBf/LYC1Oc3B7Xvl4VCgmFDiOi0kA8GjTrM685jPHq6v50zG/pMyC3CiM1GLpKpJdhts2/UE+PDXpJintaDAzkNB2YkUGjWHmku4AD0mxGGLlJVC47xnEXbkQioF5WSEKwrs2r20e2LuZOXSvIr3I7Unq7Ah8dmSEzviIkgxC7VdnlvxT/RYoONzrwgtozkU7TEWJgO4tyCtx9JFtEXHEZ/UInt/I/wtMy14E8SD7eA3c2vgukIH0SmQ+tKCaX8QeGNaswWoDCffJ9NfQOD8EDQpryObkh6iovWNbYYXGZvW3TehsmyyPvOnADFG0k8O5cOnqFzHGBpKXidjJ1tN2V/NOoIhgGz8RswUsX6B+f7oCzsFYKAeZdlElju/txha+iEoNFUb12i9FFc6qlhfar5E6YhxlkRFFQexGwn92Lv1UO6691ej+T1Q7lyL8HmRzKQUrE3srWGmVp+CY05plXxKQNBzrCudffyHiOCL/E5dTAUhwFBaKTA8DZ8gerHIdBQ2eurE385GBjbv3r8x25Of1ZNeN49ARDI81+oAXiLY2NC2tzkMmci7z/lJcY9QyS8uBoTSYKSiM+WYjRxUZJDbLO7mr/lCFNk3rC86Yz3XciWzD/oiUQbR04ma6RyiUdGpLFVkW9sUUGPIYV2HLPeTU4glopWAEole2wydxJEf+DxmJo2Jhiw7AEc1LMii7JrNKrk2VuPUooWwzZwgpAyL0Q+CchdZcazipgIeG4m52Ip7E/V+hAZViy/kr4dYNnX4Lb7jzVEPkRhrz12nBD5ShYUb5khBJ4C/OP0T/I1Gp1pSJ3Ii7fHw5umdOWcmNhTBv5+aVgKuMt72FuyiZDfeRhBwfWyeM647PpFtxRnYrXJjse8GJch1vVLyTfCysAZgSOMrXEmSNYxyF4Fv/5P6vvyyBWyv2Hy0t//bmazahMN060AiHtB/pY1khOrKhuoKYLrUoQXhdc4v3sMO9d/HMBLPmN94V8UZ2IIrUQlo99LkDoRlqcPpuN71jJHfM5xec4PyK2SxYxElJ4cX+/pA/6R4zxaC13Xboxd4IjyNUoXWYxit0CdlYkhu/bVvCTom71uSHUPeEGP4JMUncHUxe2vEh8JJqJAb7Achc1HM4/DPJk48kxaseAzs465L95Bfu/IOrLlz0EtJGeFdN064+MNZhxfnVJZTJpuY1df1MBNvZTvrdDlu4QUAezmA9kEhAnBQAwAiEPirG+2is4BlsjLsCcNUez2tPOXcOse5AtstD8/7gdqsojOEWm7Gx6zHyPRf0CyRIeZg9eNGdJo1+s7GTahqAArrCYSKsUGC4rkvWiV8V5GunnUNbjX94fV7KFRYwJQqrd+5fmNjSJRtDFR0pm+LX4JuLoaJPQnFRYfkgQAXHCVjTeZGxn3Hx3pb/euzKm3a28AnIcb7HErNiBLGqUouwWH9RpNTsdqbVJsnlpC/IdkolbOiaFq0/mv4QQHOKf+zjYcTvVBUu6jcY780ks9np6a1NTP1yQR72B8NL094YV6089Gft0Ij2n/Yn45W2G3dkd+1y+VNnw2irxEI5USbDaoZn9JSsxb1ENadWEX0tk9JkLHEq0UIOvJsnuDeCYiv+ULbDmOO2nWd6bqafrBZur0P9eeSS1RMUscrUgATAk7nJDxX/zjF0v1I1UQbtJiLUowGCgfqHd4Xs+UHRm3ewC80bYhgovqLD2QeoewzVduJ31fXgqm1YKz7bhWTYSbDIxpN7vzW32tT26Z6H+SgBDBzZxFNB0bsBK5sZCvZ57YvytUtu4jeuCQv9yVid1jzcOt/deJnz8Lfl2xfOouwDhwV7jsKn7J3Qltt/ZVm6ngOV/n2IGEOYO7+LSccZXMmDEw/c4wrXzFJOZOYKUvflT/lfL7RNOu84cSPFiXJpjOtdELqlKOGgEnS/9fimYphHgwn+v7EDt2EP9mMoxVFzkLNEXvpTZo4/rhr01eswylBPzXVUT8e/6TzAQTj32C03GKHRpD/+XI87SKvHTcWLsfHrSVSKmNJcnPCNwmlPqZVhKOAfXnrPF9xvoeSnHMXThooFNjy5GcqzmBZDrIiPa4VE+Gy6H+g9/i2teWvBoJ9u29AuEpAYvUT5HBZSPLVrBQYmZ0uerFRgQyOVWBcjZO4R+IDshR+VXYbWwF8DKQXTvlSBbja85b1aUguTAJ683r8FCm0QsTkizPo43NpHyCXJBsTLT14D2/s79AVPAHKi/BciQPMT9j1vcucfChnDusO1tfoq2tY9Vzmk24ctverLJq5sK3wv/Joe/xg/EiTg9Rf/HPhfCl/6SspVVsD8ilunGzb85NvXyJptiYZaygX0z4auFedM+BPSjjnz1eL1BOrihP9TBm9/HcZtZD6MdlbRfH0vO/wD5miEI3YcNH3t8VZ+GVuf8kltAxH7ujWgheKsoFyouP00eX983MVWf8LwgSM7fMhxNS1RhTQJhd8t/PydCwu4waWmHVwCXQLOJbDXU70lBU92ssQI0WEsx6hJ6kjRF8EvjSXhEJOHpBT03antUbu3xVbUUXQYN+8tybjJ0GZ3oW4tsE+T4DLsOX4Q2HQ/sG/awnqXYCqQ6aCw2yTfnMTpl/mZuiL87agZAsRqwYdjbs/OA5pNFmmg/Uo8FOBSknCBotXzwlIqDMZfFKR5cG9BQg5BEMl8kjrhRkV/29zIa3S/87FHXWGK2MTxBt8NgISp3DwHRVNuLSD3wl4KRLPdG1UGlExW62bdb/QGwdnLXxMdHRSi9QjbUOhGwqJPMQNdDvVOLZY/kMUsFb+eo309HrebWYxxgAohHAYCAXJGFwE+PhvOFt2uBE6FMJrtucJ0rcNWG3I7MnBbcAQPEUC8+I6X/uJ/E2EPcyrZC6E8ZN6D76liTtJYU1pgjPTxcfXeVkAzXmFkYkOwA5yz/HswyCrXB87qumWyPSGvXn7JkSJifAtBVNAD2KfQ5u4EM1xb3+krpujOl3ssdPmM+n7voTk83DjSV0CAJxCo+ZSO8o4xIDKkBBxWtyvyPCN40ie9IIhuJyWhSJx1PeHjzD9EmMRDryv8BXVqXAkUZ6oR++vtAuyKd3g2HjHcEpNf5b0tCkzkNgxzU/Fo/YqzGUL5Y6z5diwa5ANQhxfT7Ad+hayxTvLUjxnEJQYRX/bbuLUFe536ehnRgMwf6DGns8hSaYfUPnxzOpY+XoElQ1RAmjKZSeMH8n1kyN8JmUPeKN0MeZP6litEGk2lA/oNzisNRqxtPZS/2eN2ZIThPk1z7jsnX9XKc6NEFLGnQO1O0CXuNN5TOzIoBReYEBtjVIv7dqipxHnY5UBM9V1mCL8C+QzAwMnj7ppaO4h9dUoBTBWed9ZVORDCSr5F25YqygTQ+uXu3tIcsUYYDlq0Cspor+tBW7ksehJUHc6mb+gJsOE0zdv65Injs00ExoKhTPQfSXeCvhEVDwu3CpNJUeNJimvnfB2BBnZ6tHRyzo0diL16sRA0zkzYMGKkCw4NphFW81UQU8moA2JALq5qHEPD6FVnomshImNHicTBYsN9JBAg41K0DB9iXJoD66xUT5flMuPzMjNjvhM8tRgPmuSk4klHTHCrVv7g087/Nc2TE72yqnj5Or7pq2AyVwGFQvOfSV65eX07mrbIxNwOsks+gzW7V/4+HXb3GPaMIZCRPU6ciEBXoDRGuFcZnd+vPubU5nuxw9F6Z6ia6vgYjId+c88ec3RhEb/tQ58BoDFMDeDZsw180X6roJfnx9+fDz8u39nmQHGrkDHl+MvlsDqTPi4JfI6ldpWRAJ3z7xPH+yKuexjLUK7td5csMbqIMg/q674IT6UNhkd1Y66Shd0bmL7djEh9SHNGr664wvLHX2h0ST5nqRYxlenj5kI3jj0fk2FuXdPAHVhnC7kSw0PF6bcIXY+wpy6QgqTWHwf4wHBKz3P3aikySrUPD2Gyqr9RO2jnu0BPmL4j5TpChStO16LvZYDwX6CgFUlwwLe6WxjThFvvHYwNP3eSBGgXJ+McR0i1tt89UfwJvDc/sVcdGFAzCElToAiFM8B5DDzmjkUjTWE33BvWz8YCm9C+QN2SDK7inkBXDQak/k9hnM2C+lwcypQbLAUSEFpWI1hMx19A5ZIjt6ERObRA977lDgLjJ7gZov5HjucOQPyyhRpQXZBb/lNNp8oNcwWdQWaSDYZRnLgptFr8Pp6hkTyouW1h+0Iuaq01HL4MfoaJ2a9kZogGlfVSGCZBQIMvNasN4/h4Gx/Gx2I18UvFAt457YkqikrMEOHL22iWVA5clkjszGGHx/pjYijRIuS8zbXj1Ftsx9hC6gcbjtoLXX+tq07ul6TrenTJo8roxkbci88S2Pn0AwBvI/ij2pBrWKGkWYxezNuwPXAk6h+PHULlLMeoeb954qFG6XgIaX/z5UXn2VK4GA/11uW5ZEGQU+I08lv2gQ9peFHSgUdMtOM5zv1N8yyMiyEMEs1g+OiYnX3nO2XX875kddmhVZwC83RbgHOC8Ogk464wigvMs9+bxcnsSjOLTaCOfp5xu9txjXYwW8XunzI5OGS1QW9/m26TUhllZBCTvr3Jcx2letgVVVqts7Ls0dHJQjO8icAEm2hfKN6Df/kr634PmkYv1uozGm6G9qaWLy7E1grrcYeag16QTzHXT32KPBdfo2qMbMerpgYv7B35qthfPb8G8SF1nqbXamyppg12C0Xs+bKM1H0bWA+Q5Fss4C9jxxc5sCbyXAmQjlubf6B574i6OYmm+NVSQCCH5c9bw7VwjCBbNyIZCpNvos/3xG8pSy/qTSuuDeMqKxsS09In47gLBqTSnmAlVkS6Lp9x2zW6UHE7hQtjxkhSiWKDCca+5ag80h41Svq7ggTBB0obxGdpTKA7F4jcbbVL9tD3kAmJPUEXf1DKwaxPAmiIKrxBND5K1fFtIryXas6lHmbF4WSXLGWPCLDiLloCPcI4ogvNT6TiLP/pfEditveaGqWFo8LbXwMDHxDlvC8JdNFE5sjh7K6WhZyHWxZ5HlUZ3PfVsDzggBCUI+ATFT/5n05cV18iK1Y1I6kW1zdS3UfHw1f0bzeky7Oke9uwiiz+GRR73x69QeUBvnjHmxBBLFHV3ULUPEtoVWGPJfKxgnicL4ckd65NlNICbLzgZORy7pp2AWz/3WLVsW7l6mOR6RzQ7K51qUllb2+SgmgLc4JNoi8oaJpkamvdytN9gMZUL0J7yfgYHy+Xo7V0tSk/mQdssMijeMMdpOYPKK8G8bCkiGfneisa5wUarCAvgckUTxzHFikIK3vhHtVbWBsOD41KPmobVkN0gexhDH4QmwWUOErDI8OL5X3IXVcAnAODve8gLrzmx3504QBhQDSQsbSXZGwVODBxOLna070v6oGsSlxnp7g3DH2l12rqp4Uw+BapYjRonCuQtdsDzqOMfagpeymYuhiRRU5EZFnxBm63mma03aArOrANDZVVoF/87zQffGZ6yKLohgW3leopBLx0iEHG7M95ESm8XEE3rpd8jA+h13YErc0aoQa+hMC8Ibfl2pcNZBeXsBwrhzT+dT/F0xUB/KdW/2FdyBVySgOecsPeHMAjEMfXM+yqAyLVRzf6mIuf3mRS4+iRmCBYUN9RrRSzl6uMdKMKvS/Q36NnhULxaQQdkGdSy3QZY3kBHfg2E31x5c/7IBLCHOqt0RVBqoyjwSbYy4njMJb25lAaNSO/5qAQNODnRf9jRKbeQqmE/yLpDZtQgO6wQOrCmOFIlIjGmvFOFX8dIERdup41GDbbpHyyj7fhkXauZ9sELGFKidoIYISN1MWPXuP8dhCe9APqwGrNT2geXzNy9//3JEf+ju2fCVLGpogpWYr+Y83aFwvKjYIL6shiQp9PtcwQx0bs/FXEpZ5Us+5m6hke/oWle8ZueMBPLhU63ymUotqnD0kGZMx6uev7vjkpJkpGIaJ7LcWJsgkvw4yeArxAS5vSehia77seWmN0QvprjCyeswYyuOJOVgiKTuPI1UP887SoQ/6Dbd0Q8AhiPevJ0sYnb5aYbVZQN8y4b279mUapX6qkoJZBMn/0vengBLZWGo/Gl/r6VdiDkwegfY+Ef7I0yRuqmfdrMaNH2tu8JP6G0ZwX3DuSnElganGaqLeBJIOZaC7Cce6D0gm7UUEokz6PZz+bFThQthZLGCJHijiZ5JqEUQwPo6RyrqkAjHWMl/O6EatI/Ju3jyPOS2agsxrQGQ9LNO7ohPshhTxoZrUK6kMcWnZU4qMqplCfoNFgNaatU5x4UkV8MmcT+bq+nUMyVptxtvkPOvu0bdd/RW7QO2+21cSPhd5B2ongZ1tyxPYqBy63BT3CtdXeDCiZGoHeJjw5m77k/NuFzgmbPQJgoDjPbndiD3aYWEQXMUVgCTQlnTG/lAI/GyFoJZPnO9v1fKNX3ph6/Vh1m1tt828dAlEOPnlAId5FXk+hf1hjy6Cb1ffl8a/v22ryv1ACRqWTSCZ8A3lousEzdqtApNBSZqCUKHYwf6lh60LOPDkinSNgQUeVpYwtOrkcC5y6od7nVnVlxYahXmuPxCNT7N3xm9daM+2sYge6L+OIbuC+7ypSo8UadJpSHbTilPXfZjxDTo0A6/gdlGQlKdotryloDUVW7C7VeNWtL5R0++tGjZM+iJLSaLMXKSON0Ae3GBoQ6pLUJCr5RmDmxHZtKMfdgQq0veH++oL8QgmwceCmjQq9pxWqcXvv2QjxqZPIioA5xMSxSrRch9qRz6NZYfpLU2zDC4ZK+jo/Bt2YsUp/WoVfA+01HAnLO6fQuQUAjEZVk24eBUlDv9kx155+gfuUJbEr2CsugJ8Rp+0ond5KkV+9C3D6u931vym6JayEtsUfs9r5XN06M9nTuSdan92Xjv3Gv9NR3Nb3kE7jqq3k/47lp8qqmMONpfEHypWi0VVwq7kQhosQXa8L6bgZhXIN+C3DxJkY0rKUFvlvD6sPUn9qkr50L6asWzSuSHoqtZvHA8xhZQ1F6lKW/9nLG5vvvCVTkD3N+IXPe42QjZz/n4741ey+bXZCjylY2bcueorAkpgIFz1Vaq4QexsxYXeGeJ57bpjMNI4ZhmcAms89qYlNegAOVFHfA0sCSMBYnQ8IbRwG0eDOz1+LMvhBQIg/tSusHRBg+F+5VQ8SS5zIUx1KJvpPikcdWzINIq8qkyWt4/n1EUd50j6l2TqxayaiUdlOJKlV+4iQMGIRSshXawMqa4iCnprU8iBqWugzltrElVdrB+ao03Kl4ROybg4AkX8bP9WaJXGMRMcD62EDPKXbdelAq3VRnsw9dfJT+1mcXQJVELlst32b4+T+WTQGC+D9D9cBKAZHBUAtpHYvFBs7jgLk9MU96KAE3t8ZVF38AabxknL5tjxdvLhDDOMHqLwqx1vg4E2ljdclveEUiw41aYbWAD/h4NFJni3E71OO1LUfHmEAnX9LqeQc05RGIvIkE6N/Ma+iqwyuS2HpNCMiMSSGef7ST454t+rR0Mwc7jC9GJwAyFyPlZgwbpzgQLL7mt3hbhDFuItyUaVxIO4V3ZR3ItyPnwsTx0MVVk9qIvh1ybRc57e3Hr+SMP5HUaYdwHNoVT4iDAUcB2m+hwPCd4ZzIpLfpYt0pizjDe6b8K9CHun9MDpyZ2dJ/JbrfO3QqENmspa9ryiSd/qf7SUEO8hCfKPPCnbAzFEQ5z+FtiwEKZ1pPy4cl7STXGProKIBeFfAsPdZo4UwH0ijXDGx/ZJv2ecxR8yi4/ry7pW0ZpKXB/OvGiGsiVuOhVAV2N/Np7I/iLv85x1zOHJeGKIhzyh01g4bwgTXIcKKou2FyPWqhztrmYiXHPUzY9mPOnJW3EajISG0EEt4QgrEF/BF8IZCFPoKRE+svd6MG7MBoo7puMcQe2U9CNxI75WMNfE/XnwWaqh7IR8PrO8K0bmZR7OMJm/BpbJ1Thue4Icbwf8aAl6Vd9RzD4HSs4QHlZEc40hgOvDuI5xdJNzI9smZ6hPobmr+AfHZYd+QF2ZPFBQUYr+rTZqcJY0z7vJKiUfZ4XxWTLDzC8Ef7AqUqTtTpwWwKWCPAu/Wn2vpSwcQYSmoFHQdUoJITHHbo7+NKBLaz29UvZtah4meZ1hhBaD/3XuY/xXQJaBhCS4Q+ypyPv6tfH0wk7kUQLarpi7VcApu/KzJU4xyFGJFlvlpLCs8LeSmZ/bYZPeLaQ8FBSPFt3ZsISjB/fTjhv7W6/zm14JQAQTaAJ77oNPml4n4V5Dny+mRSxNClicn7gdmxT5qj7mxXearGTRrKmxJI4B0ktzV8+80zZJTh7sbA7ox+GlHBGt+zC9T6prjlr2x3AGR+d23ZtAhVwCk8T0VMZHjgOAsQJr+bRpyh8RHZNnYCbwkVg02jwvOFtUv9SkMDZt5HuQqfnonai8bTHwbJvnClhRG621PhHvt9wD2CFs5sQb/1SIA29PLSmsPoW08uyA4cFoJAqdwMX8q1vRHPENhd2VM207eH2xclH/tjkJ8Hum3cAEbBFsCvZ4esY0vHA5QwfKzk5/CwJS3n1FLuHAp32DqrTqwgzQY9SuE3rxUlWXKJWMAQK2JcTsmezWkMIy3+7FuHNG8/QdmAxPqrLlbDcTWAF7gqGCvLfZ+FL6GtkcLJV14jQA3XZAXcx5bfPnBEFgzdPTyYOCD7yf2OdLSj0Q1hIeGspHXG400/gZwwRFdg+AdHGhmo5GKlSWHiMBl0fMWCYRR6DUFkQniVXZrpJZ3NgJgG2vqwuWwOn4sW5SS8OHG9PYlUdZYVJNpiDVwdHO067lkmqBkt8zZUz2HqP+iDCIx0ph8z9CSUqv/UfBvBNlxbL9FrLT1YAmCHb6xBzqy2h/Iq4Q2mJMaC4KeJXLvv2vEkKEwb3/2bPXra+jPzYw3XHDjqgqqSS7rifLCwVmX2v/FsV4XnMdcqrP3/1yRaA1KrIMeulxsqlOPaIVsCRk43Me8NATBZ5xyoyg38B68Ky+pTlXRnkhKBeI+bw/IV2fz/Xs01t/5JcN0BsCEEii1+Z4/oSoVY+EXpxN6sP2aUqQFaj+uTw62yp0dZRPg2OQM6tX2Y60NX+2jshEa4j2G+9fohT88bq/ppJGA8e0F4G5n6W3Bv6mEKuYCgLJO9NcoXOil1MarCyVQpks7MKiLLmzjDXi2i5KckrIIkfcUtB/8tEXLfVPugyPBJpyTZtDqp42SXELcbaST6gJwsvt7L+iZ0m7XJ3kqM7pE5r5CnXY57zSLH437uKX6kz7ikylhoWJR2HrPq+VhlDQxz48K+HBvvCb+WChf55t2qAjPMt8ehGt6rmAz2tMcy9/JCOA1/7dbv8DC0zh/zl9xNdT1UBF2taFeRPVnDIDDl3wOlxOqhuEUTK98V6bENltN+VaHlelGUMpPZl+sR9Gx2Hm2MJQzymkWlxpN3zclfacN5dF+C/QFeeL0++0wQOhdgGvf83c5VVH36brEIn1+CNEQrM1bovgTGtGh0Z6esI4y6OEVsaSWpzksSXfk/aMcZBW8AoFE84o9Sqnekz0KclVKuJPhWS7qeXbKIfNUC3QR3+Q8y6uEnsn59b2xLuNYGOmpsjvrQRLqcie+/kFbC23pvJb7AWIjuSHE9OPadUE1YIK0wn60M8he+3aOa73LDgQZ9wqmUl6fYSAQ+Lhu5SHqBtL1D/HlB7ojR8WCLBRDvh6fb2lNTcTVCdJpONGf7fvbXiDCc39lafE+Y1s6rm+PNBwmU1BWhyqohpdZ6HOnoRvLJ59BXuXfHVqEUBi0Bgvsj1s5zdvWjE0tP0r0Gap56Km3wUa0iO40VqOXS7kdA/vgKiDM3eiPY0KBeh0ujbO67kmLEgMovTBUnYaUJYPRNN2oz0PZmv+sv1+3XByObpq6DLJWvpbK08TF0qweQDhELhVXw92YTK6c2fykqPSyJcYv6V7bVJYxVOFbvUIu00x+K1DNVLKe0+lg4bdyNuxue+wfq0fqZbMD+nlEanfiLzH5d+o9N/fIoLu266MWnyWSPVAZEj3gElAE3LGW2R2/21FhJh0jtFkVqFeq+s1ZTz06Oyslf6pcHkS+oSWjJwjRhGUJUnoggMmt25WU3d7kOqUcQfVwlIG2SZBQ55NlYGzn1FWl/Fx/iHsfx9tQrbgHRWdT4Pjcv5QV6Kxt2G+LI0SjfgwTuDYGrnZ/hhK0yav6tzBV+fDv1hXRBd/MCSSCbkchmWm0UHpCCcobQVZ+eMCq5LRLdp3T1MVVEP+qeQRV94YIvEqZx2+xZ49VzTaiFT1RLKK3h+UGuWzPUJPc4jFj6JC+vG/V/phhI1ifAKl2QTtsHMPA+uC0Kn07UbAgxOLg2lBvcfbloPY6JitEJLqDP722p9WCnD0MeXIG0OzRx363NZ9RlHul9/vK7QtBdl8Pp7eIKckZz8c4i3btQJQaulUiSxsV5YEyOxKyGwRq75kpRg8qGtLA+jZ/MLrRoVF3SOjDRSnN7xQmPbhKruI69WgXaoO0YLmwgPA5RJhGJ8JWVsOLsOdqFpB+sFpWKVgNPiyoABeDNtUn/E58IeGuEqW9crCxi4dLnOdgGPnXVgP/E6OcELXJ0V+fCE1g14pNDN992R+7tLThi+aGL+SLeIm08XMCjm/QW7PLP5cEjRciteCSbAjNO6WQ774rvUj42cSxsfn3L553VSwyv0z6Fenzo5XS1USf2cWrJt1FA7C+61kybseg6ldILOKEmsum+3mIaJOSyYuymMRDNYIFVNP+9xjvSnu+W7VlyRd7qhoZFj1JEcXRfDiFB/Wf+XLxIO5dxoz4Pvhmmckbs6ALT0LpgdSH2XKHe7ATENqmFlu6TDE6aBJFdifbkMhV4zpuzJLzY9tzsepyfi7TGJQAwbFkeVSSfCv4JYhKfGAWVSEIbSxKoVGV66tNA0YtTDJs9eas+FrR7BuuQ7XxiUM+VHQAkiNEFhRLNLD5ipMxUBJHQt9UL5ITf66+AyMp3pT+z5L665rITkYI+ctc5SR+mUg9d3DgE/nr8iT3DCR+PLYOGpr4gWWI+YEl/ASa6ObwurqyeTPLEM8AOVa1+SSm8OkWVHkT174Buhy08q/5/GUdrusZ1EkvdxcFUs/v9MV2ByICrua5CiBk9zFnXTDD27Na4UG4RD318eSPGLs18jsmYmvkoFF29f7pJDjbfonMmrZXwnm8YzvOE8XzAnqhVuSyp+ngaZFks++2yKv5Y4F3df/6BEXHVkVVX20zzl48/4eHBdKiCh6BkC2L8oqrJy9cxyBzvz+fyTb6vrnUx0qoxHXoUuUcV1rT7I6zXlyAPl2FkbrHOfMyA96KS6dBrFRrUIiPXhave5UGKvx1+HgEowGj1GIFe7BwLJjHecwsRS7rP/d1qfuogKKaavF3kvwolqrHIOqoAASIHJiWy4/cvZ+CAEIXl6Y1jg+5u1HtVPnimsuJqFnNVFbp0NCwnjwvcXIL5CNCJZ3goHZ5/e+o1SK0WfuE0zaBBWCxHgxyPVZEw0QUfkRWLlqubDeU/G5ex+KzqzACk98NdMnwU301QdsxG1aOH5/uM/HoS4c/X4NOpLqBadCvJirFxeDi1bkDbIZRPB8oOCV1EdswOUk+/uEj52v9kxU11DY9hSse4P/s4BWmCbesxw8y6tn4DlMWdtvNUs6PsqNXBdlVwn/5kWqWXwtX91zsL3GblF622ShClKiQqVt8yWvT5EpaOcbvvxVOWm4UjAUesENtqWB/H73BGGNyyMbLa2eGran5o7SGRWjeEPBWcNGVH15RGZ7QSY3t+Ka6wm6Ny09CSOlY38W59K0IOL4l2/lFpa5VGTSKh33NOvFTtw/mBKUHKnT7UJ0nkXccY8DUFFGXqQb+UleV/x0QjC63+HMk12F5laguMt+m6i3iZQLUYOlsp6ITOaoj9lVbBtm2Avi5fuMvHC+aDdcjurJuysc2BLOwHWCefe5Am5wUkn5mFrYVV3nogApqZsaaPtIaxnYC83Ruq+3bsEM/67OdCIHhZ01IHD+8ntP9Kq3gsENyENe+vaGD7XAzKL9dNdcXWKmrYKBNdfmF1BAhyK1e22afHgspjfedTeDeMIjMPcPos7NHtSktdCm8mSFZWhJBZ3zS7yB4x5zElQwc7Oo0VMC9lCrntdxv4luwWbAY2KNRDe/Ht/1Wm2HqWXiSn/AGGviZ2yOP4wxQ9avJ9LS8Vvx9I2HxImr8JQ5dbBxx3nRN795v7OrP6Ah9Ks7UHs6OstDd1voUwlXeuTs6o0hQ/97GYxEux9NrsOFLuHgRk8ZoIl9p283QxEB02fdjLPg2RhdwDxqrihgqWms66Cx9HY9/1STqIHLTvVfKQNdcDgHrAaCLWtLJ0vEfc0+UPrxdWDtyIHRhiRhSxQveYfPRKgEY136Q073AMbzSDQEY6DGmDrK0pCIma87P8Y/OpuZBvKbe+0efUwUmU3oKwlco/r3ahZxgEL8cco/W5A5UJVlb0E+eW9cM/C14uzstccD3/jclqrYqDpbTA6RyD9PQsvDTjXeda8y/Hd1bp1ApBQqBuTafSa/qaa7wLG/C1ZYLHX6jodnrO+WItQK22Wuddg+MG1+QB1nIqKNGXVIgCC0+5MUfALVJEjH7EBIwFSYRgFaYprjGjqkqpe1bL5F9BlZN7b9CS8XYkDHcBSnN7jj0pagzmqiciM+2/hVdCBJxMr3mwYGuXG0FuwcRpeL6CqhI2FzsD2iVvXkk7J7EeRO5BUqZuxgF3dR/fyGW9JcF3u/sAHdYI+ArKZfPYwqs0AdMz09agIiPnpT/dWLtC43tXuQmbJGst7o6MGwR3FKLv3DDIXsgDotGOEJsX2KzXG0ydgGggVi5kX0Ozx0FRJDi/G1aoB4iJb/9iSlV5EaNQ22VC8XU8l2+TfNrbDCuMp2LBMD5u4Gu+XNBoUeyP4+j1YI2tFNcCFABfCNzmFwYrr7gtQyg3ZkyY31mpaP6C260j2Ruz++ijOyMEMnwF5bSJ/L5Ak9r2IsCNIYL/qTC3ddJDaZYoOzvsQf/d32NGEwr1XSPnfpYxLRFoaZh4iS2cfr1zSAsqz73gwWfBgmpH3RpnMTuV66b3dwUh73E6aoMIVr9B8DLWczmxewTTZ3AY+ED5symBEUPu1ucS3tcPwZ4g8ZtVeEDhBTsptIYxLE27DZudLbv1SW2AG8L/OyQVj/pa1fLUIH7y0pDZ51U1AwJP6kEOmAceaDscUuK5RdlwT8+Dk9yIkRKIf7d3ui0mMt7XzhjZaZ/nW6MVTb2Z1JEdK9eN9R8Pttkm/rcyvNCH4xIL17aQlv94JAm3PE1r6WVhjN2QvusfptaTDH3XPeVK2x7AMf8axDWoF15WkJj/uvSNKm0aExXcDM+DIaXTOfR96snUkjdNJ8Y5QaXrrMTpncDxEYHOYH7msEvwDYz5NGC+gGf7dmdNOPm/vVs948LCqW7KPVoUD/KcRc9hnK4cKiXxgw+nifsxDSRc/sW5SKPwM17wyxhgPyOJbL+Y2IW9bV1jPDMlkIaaRhtpKEaloisHskqpsJACNslPTu0S4qvwEtOsvgat1pdgK4dw5O0zhXR3m3zHLzqiYgXk0+6bUwlXnwARGXwxwGibDD9EYMkABBsZy24ps9N1GIFIAx622RhYgcEONC4duU7Sin8+7pfHLxpPKExubQPnDctF73/930njkTJHexJs+WYEN20UxVxdWKQJlP/aCgEa7hfyuw7pFfGG8LCXXltsoanl+JJxITMPiNrD2rPCYnO96+RajtFAFuNvOtDKCxZ8iERLGZBbRIwMG4LjFGHrsTaXak7DR4alWU/YbAXxp8jyyOAFeDpr/6Ae3VGvtXK4nin8ryzgpa2ZPgEJ8GI+ZFhJbLlI0FG4ATqVRTQ50l8ZoDxQf/4wxuuD+OzwroSxgVI9lmBHfHap9bY/k5IRByHP1hSoM2InYh/OTkmUdc+2ABiYLjOk/EhqpTivF0Jv43QqqAkgNSalp9q+4L2aaszQ8Srk6FKZKThe5cGspGQPgMEwX+LTJHPR/Wx3psgFacNln4wJpzhR5PpebeXNqbZIVbM3UJGQpmuM9WmW5WvESO+BW8/WXSipKPvAacvh2BGTlm/WEePBDFDQe2X2FVeC4T0/ZmV3HvXOeatYPEMzLLefIOKm3nIQcSF+BzpPgxjUht8jmXrOpmr25K9DFdcjeJM017p2HR3H7tpdQfi7yfqcLQReqe/wWQM/Mml2HQWGa5G0fKxjv9/Fk/qEuKKNraF+oV5giSdvZeKauBN2kgqAYcS5f3iGJdPdEEIrRc/C1VRgcfoBi46NO6CAjtbGND3v8dh5c99Xso58PfA8VOMgP7jw6gBd5cHOldwZm3zzNl6mVzJvyfvzB4zjWIiSDBFO6kPVKJED7OxJgt7VKB6LsM7Zn2MjWCPEK80qJS9NXive6IShkh/gFRu/v2VamD9k6k/H8mCe1GdiieF7sQVBToZvgeEsPYMCjS1rOadwe3HYm51vAoHt4oUNiwLSqvrLGrEKAZL0bafcdS5UAI0QNLKfGVEW8B9KLw5/0TmXxoq5zd5jNbwLyF22hUHtUaD8iM1/vY9UPMVxBdhSdoxDSMIp1HaeWg0Wbnk66z5rrF8NOvwWqllpv3JJfbpEC3+vuU08K+sVD3Yf74lMrGlIYnEdyEErTVKGlwAIvIHYENu2cSwNgy+hniLNfr4ZJ62ovwwylq2dBBcbJuUxt5yZT2bCiMjAE2wWA7HuIoP9uX0HQGLxG0sMJgB644VcZGPt/cXr0Yr85MSGZNXH7+K1oc09totxMYSFZ9pdGPcMQmm9mh2ef5sE/5bCwQHqWyV1yvb54FbBjr7rOzwxO957vhQ/KYbIukt5ULkZWEfjbwb8J9icI8vQwqV6b+U5D7Dd0MDoPjx9bqvfFAoNEwLBa7v2vLPzQjtgLRgl8PAaGbfPMhSE/tsaBmjzU646w1zePNtZi040HFintIHOJk2BjSeFQulEjHsUi7Z39TVMn0wvdcoBy51Lw6M863Y5ojJDSYbfd8ZCwO/loUUUlalrNBv9MoIjVNQbdMMPI8aJ9hg15xtSRIAdJbB7K7Yzm0HLXdnz53+XAntT6/UulNQQQH6o8kKYuX29lnVQDBJs6DVncLLr19Aqn2qLA+sMxGEjxRqi3KJLWhdpYLHRvVXLUzDiI617oT1j8Umd8hjH6RBd46aSeTkIkvAwHuj+BC1KdHQAvQFrcfA9O+oy5dzIKBZDj0ayshLEMMNCWseWwRk9g29R+S038x61QISNkO3xDmIUvYk1vFFaQ8V+HGfASG81qeLriYbRtooJ4FeiIMaV9k5L4/Zmyb9OFr/banYUVhV74ciDCWpKjJC+vpMmTJsJ/ZPDGFCUUzErKEeCQnHXck5/0W+GeOKRZVzgdrfmid44Sg8375bt83XEXyZyOuSC3NhO6XcpbwmQZbnvwwgD1g77KsvbC/9vckdXjR2ZUuU+Vn8pRlZw4iJopp9sxHzd60n3qiBWjctb+S1486MIXzEjoXOFdP4t5etiY48YCfLWQoT5q0TxLxdGGzKkzJ7e4lxa6WTaH4cvzeklOFfuDtnEZ6MhniQ3aJ3X6XbIDPra4mN6HP2+e4iFYy+3ril/JaJH5IxNRhSuq554mohuDOhbo3d9E4iSVLWW/0lIYWRglQSetxrnUvoST7ng6q+h0u/zgLzJIAcJooTA191X7uvaCe5dT/QyYL9Uh2IJEoHTWOLc7D3E/NsltgXzBQ0R1WayswnGHPHqmFsb9wCJWBV7g419X7x2dRYssmSM6tpXorzxcAneBhFjb7NDryGRlrS/M56iSpQTJxje9Y+gOUzDojlVZcmCMfKmZWPGi//LmPYmo6vwBm75d3wydUegQg4bF6kxOZ82D+QfyAny36a6lm0KW/C7qcYF7ukJVsrR6bnokJN5skjqPDDyWfAUftpwcuTcHMUo5KEv247oSJSGzfYYRl8hxceIpc8sNd4atLzaXbpX7Fv9ufV1mpiaZNZIpaVPIjh3TXtb7iei+hkUuYYMdQV9R7cv0OTGApO0SbvKLJR5T9O0Bhr71PQhYeudok4kHKkr4s8tTYAIYQMeAZAGG90QoLmhTtOnizZkL1FkgrUz4qUmqYsqDvr+ZrsekwoBwcEC0IFPJ256DQxnjuupnn75cKAkRKQ0tLirWL49Gj+6acKhE0COTerG8PDXTPr/wB/Qjp/rpERzCOqYFR0A4CYoaM0thLPfnZy7Dcq36QBebR3ntlMlLfEiGicKsZ+imxiTPZW+a+d6ug/kABNWTkE27bSHQSpPQAj5iBqVmn7iLrwSHyFavWEzbVZGJhnmCdZv+YqS9it5olRIY+DWlyD4BcyYqJCZ9fhpIaVHAqrdh3KjyRptAi97MMN1hdxu58+JQq0Dwjyxi6H0HeqNTCI8o6Gbz2nrjmj7vpF5cKzsP6+RkObyO/4mztXtDUGl9FW07rmcnEL4gAg/soZoCAnJBVyh1DmqBdw2nOUxouBNlv7S+fjYNmkaNvSJ4dllWlIBofNgG8/u6ozN7zwEez1llCyjbevK3910ARHbNuyp1cMj0gBq+T604/IicaPdhkXoSIkEj5W0jLrAx7fWAVxOqj6+yL65TX3vmJI+cpsxQ1bBj+F3r6k9rKhY4wfzKKQWBaQVtOKW2pLbL9ikJJZB9SCuXc/9QyWv1IHV+3ZqGElr45B700oHsKBK1QGCBw+iU391jr8uufNZ+y19Z8FPMSAIPVhIxGtZKoRvJBpKkBmRwTHySPPrSPDsHSQ8Lnhn4w/MvHThwM4mIetdqdQTvyTao0/sUJQj3gArlF3O+00gzCK/5D2a9bj3RMv02ysH+mR1Oq8cZ6XqM5wbSySsxxlyIMs3JnQBjzgy3KFi5dACYsNn35OFZ/j0U0DynGzAU3iycd1It7tCwV3fDcY7d+BvR4Hyc5wiSBCp2m/8UzYdlw3VkwFl2aQFImRIsqNJKAOGo8VMeBAY90qSGgYt2u2t8MoIdXvXWIobz3RdYLA+hipolqNVmwjqOc8ZUDIYfPwAcOwO9goOWFdnJlKPohOP5W365K4Aq6Qgqji8DqcaAUtUEN39xjJhgyXkYiXzXs118ILRLFzqohWBpgJfObwdD81rCLBG+JrOeJ2wtnrLudA8WCMRCIz+AW+dJKgOoQdr1ZDMYrB67GtmdZ0C7tIjJSbnYioJECTEEPd2iKPHOV/3sttPWeLsvhOexP2MQRlCHjhAzxsgAjb7y48Ue8aOHhlAHsHMorkK3eD+KO7x+KyH+gmh2DRVxSPFj//D4t4NgKRoeUKXt4RDCsRpP2qRKI2R7GYc3s0NCvInKpmbRUjb5iEe7C0GhA6RVwKxZWfsTYHvzbbmLIW3P7YYTahgEUjs2eStKrI0kNkScVGn/fwF3KpJRi+HHaiwTFoj49wZimAP5lnmpabvKc+57MRzkecbyo66CoIyZrYVC5LTHsm2qTt+3CJLCXGKunCVDN9nCJ1iCVD++JHnKOxjlb2lJ2EjakX82scIP80Y6bhPZt9imySpuWNPlvXPkfvhnj8qn0Qo1SpN2RygwGubXMFmDwZmpsJvsrSyAMCEdVMSAWCG3wrum4+mDMCLi16FF40FgkdXR0ZjiLIm4fLaV4VYfNWsDXjgztRXoC1s16rZE2ehEoPDcAjkYkYFCcaTlpe5JDyjG6amJY/LeBNbusWoc0B+iZfWLptXkv3Y4o5OZ0ieP1d5l2pgSJ/phvv8/9aT81YqHoUJ4zcBvykg==">
            <a:extLst>
              <a:ext uri="{FF2B5EF4-FFF2-40B4-BE49-F238E27FC236}">
                <a16:creationId xmlns:a16="http://schemas.microsoft.com/office/drawing/2014/main" id="{FBD3CA7B-D79B-4784-B1B9-96D28EC128B8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4678848" y="1750913"/>
            <a:ext cx="4114800" cy="4791456"/>
          </a:xfrm>
          <a:prstGeom prst="rect">
            <a:avLst/>
          </a:prstGeom>
          <a:blipFill>
            <a:blip r:embed="rId7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8583481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MRUCOLORS" val="&lt;?xml version=&quot;1.0&quot; encoding=&quot;utf-8&quot;?&gt;&#10;&lt;MRU&gt;&#10;  &lt;CustomColorsMRU&gt;&#10;    &lt;Color aRGB=&quot;FFFF9900&quot; Intensity=&quot;1&quot; /&gt;&#10;    &lt;Color aRGB=&quot;FFFF0000&quot; Intensity=&quot;3&quot; /&gt;&#10;  &lt;/CustomColorsMRU&gt;&#10;  &lt;ColorsPatternsMRU&gt;&#10;    &lt;Button ID=&quot;menuSeriesColor&quot; Color=&quot;9&quot; /&gt;&#10;    &lt;Button ID=&quot;menuSelectedLineSeriesColor&quot; Color=&quot;32&quot; /&gt;&#10;  &lt;/ColorsPatternsMRU&gt;&#10;&lt;/MRU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zkBhDvReZqbGLfQB3CLcY1XkBZT4Qc7Boa3AGle898Ady+BaGGoic5rFHKvIqkRkwyMdw1jDyiWItLWuuSdJ5LZdpGNhbq2RDTIBgPB1UskYUIfuGyLuOmqpE8ADVBfMmVyG2wRujKkO/McQ+4ZfybG9tmN1OYIupoy/5stprABgOHbAuQNCG/WzUTr5c236M15D9i0MJcc5lNu164LX6XKvDmgpEbn0ZBlmLtLrC2jdQdpOSYMLo5sqA4h9I26BOedR2BtruMsGmdPhXojMCmvOEPqZ1i6X1fOCGG7s4mHE57xbLlm1XrML1SjFne7DASdNxOjbajbRrM7sHIM9qbP5KPezSyZdxX4fcjKnlvo3W7uiZ4s/83tZtBCGL8ZyNhee0I0UCD5vFbyLDbyB6BDQ2+4gN4tWbk21uYAJsLHVR717JqQKz7tSe/FPHnGjDIrsikaFjrO9JBtWVFYrnurT/Jxj7qdGffkmy2ubIGA7uGcUsBNCHFZcDRBkyGJB4Tp2UH1OgYmDjMQHN2sgpXmuIeYYkMqEumdJta2w4iByn92B6ubXUvukftJy8NXqfKbLO02w8EOYugJzvCFswb9hYJW6AOny01DEEDQNuW6Sqyc9lyz5prleO4+u/tJdtQ/PSUTP70Xi+iVvapjuJhtGR5zB0g2FwN1BO85EeFO7Nb6ICuURWVYIiqrt82rQJG4MnAHC6O7wz6DnhDILoGx9+Tw+zFVz6WBoihv1uNMuDvJK5ppxTAu6FfxzpBlCjMy2E40rMUt0xpjvyCsornLmIH9PB73g3404rkuGoA18UyF8Qg6+cbjzRRw1760v+gcM4D7g+ByL+/d7Mqlb3wXM5E8GIqgkgBFIRXJhSmQy9qLqm1fRvPOsmIXf+ogxov+eCkX2rnxg2n6vjF+oj42kz0qCsLk1dlpPMjuLrZNWIuZe2on8nVUVHCWVu7g44zr5hZ53wi4F714fniPXtI0mxaK4/rX+Ygai7hUHtPrQACzeoxJF4Dv+Cb9PqEszOIfzBO4ix0XUJb1HSXb3nGzAzisxWhPgV7KcoF2njm8cpyvSUTCAfRPMpVs5aGL64T3O832T5TCuGQtHNIymfv7HzqlVpxbqESjhRV4edf+T8RRLiqlKy9wwWr9iUstJogI98OZQZwnzsWdT97Ovp/ovvUkrw62tvgMMOjuGCOmMzs4xTHEHoq4vOBJiSABxEZSS7/alW2/JgY8WTP0ttTheN5qkZ+7Z8kn0dNPUI9dKAUYtv0kX6TLjTFN29fYfy4UYsljqvg6YtgYXcsO2YulQEiGVZHvmisn2UduTO4omrXDCSMmbz2qCWoRZCj56Q5Ilg8lWu+CouCDmb4Xy9Iv2KSh2w5Pwgvp05mKt3NwsS5Rd9ECV2OZ2gM3GKipxsF6lfOmU2lZf9SGrIDGhbvg17n9ZUbgfx39asJxM1uWMFttj4C0e5pI47aC/0uAr0OsM9RlCPjNmbDWeyt5IWFycogqUUMp2aYadk8miDdXAzhbgz6rEoDbpu78i4hfydcahPVRY37xOHpdN031HpdVwfADgcDH5Q0w84oszwI2SulSq9HsK3z2vZYQKeXdAICElAYCFV1J+87mOjzv1b4c3cpTrwopOcF4mjnLPdFGR+dhT7jjaZc+tS02cDrMYCgbSDeRkH5/QKe9HJU86/Csmg4la5XVu+DKd6JIn/DYyVwoUSX9rt9dp7nOyhY3mXsAsui3rQ3sDTmgPhbPrssHc/ea1iFTHiLN6yNXxQa07I3s3CVwVbJXMjYU/O+rvniUIaX6kuMGXob0WPWPPdEZBWWFOHWc170Aj/pz+a0WqxBi90AK3IkJtum6Ar6UI484AHd4RYdUnih4KFgcRteYMpXny6GIOAcrKj4iaq4UhD6nm7dWX/vm7XIUVj/qFBxBpmGmaSZ8tEK2Khd+q4/qQT6RJOwgMlYkqBeWQRySMXUJQ1SWSTu7wW25u/nDlUzNawcAVjf0RFdCzvVgn4QIgjFKMI1GQlY9G2WiJ8DYlgFfijpCHSSWh08XEQ916P11nd7mKoMKzEgD2MCB13s14q0mS7FYvZijAPt3O2lk001lqBABY5JHScYOAA6B0f1SpKpAHKzdilmBRML6D+VvzLN4vw8pT285HjhvcxN4iZ+QZ2uZQ52LLrHcHL5v7mjQuAo1qIKUHx4WLEcuc24MmSE96OIuECk/PasMXkiYY9VbfXDEQfk4db9RYkEumeLvz30l/nOtNJu7Kfdlt+B8/vCPFkecodS6SKGHuC5klgvwbkVNtNCADc3nO56esLdlKqv1GdCHPyC+EhRW4RpY1gl2VBm4zXap8StmFbEpSQH5A4fngMBGIzJuw1A8mLqr7VOXFzsfv2m6PqXKKe5JiZkEzYDKe842mv8sdXhxdQ5VpVjCAbTvZURa+xRJ8AHY1H1jyIChT4928rSt/L0yWug0lCVBR36xZAhvFRF7M9w2A+8WH0rcFIA0ExrNtep14N1LYd9qEVOFmIHLcMRy9cDO8eeZzCkgdT4FJAMZQVaIFsNG6COGptjdZ788fOYAIjRcX8xoCP1yI1hl4uwFOg8yESBj/TS0F4c1gNXrQc5zcl7gjo/aigUaSwlcTd1JOVTFnbeyyUvnSuBtMBVz6TTf87dNS0XXjfJbx30o8uSsYAWmDnXoB6F8Shyq5PGKuODHmZwshU91Mme6F8uXR549pcFZGYqqvaexxS+nYnuIfKgk2g9AxibQboHsMlWcVOSTbVX3y/dZl079UJADLlT/jYqsoDrIGD5ww7hUzBCRLLbLzC+y4Cxm8CYhzaGIQmtmMDWdRjhQjyDJbvIGZBF3Oddt2Aqi2W4aBoGQ1M4T5yIT3P8kiZiQNLL65oridt2ioyky1vOCkYuNSxQaiK8G2RjPdDGO6NsDgIAbG+68DraIx21K+pEfNWyMQIIOwB23MOY4HsqjzB4XbS14EJCbgzMBm94Mzwkybjcyddx2Uf9eX8uxqJh65csS/xmR1HFQBOA1S01/vkHWiV6+JdM1lLbbZEPtVDBKviPx1VFBOdBh6OcehB/56nePG2TwDGdcMu5xBSF2Z5eQEFHs5+lHqFdWUziYs/mw3Lqr0OHvybiaRLdGwYZwRRSv8LUHArsZ5QxMs0YB5gOwaNPrPlx2nr4VKotsESsseePTUFZIvDbLGZXevvj/OtxzXwoPDwvkJ141KC3UdvHTpYRS+lpzvzTVuOsAY5vaz9nGr59/ReGi8HlA7GJQbj8i2Gll/dv3WO7nuzZyH1mfGR228JzjeKCw1eBJ7zhuY7EmZr2x2btV6YalUUv9yY8Wp3PtrDxA0DH3WxlMsd1loO6hcDYnHy2otvT3a6kDbndi0GFlDeG+Tx8arITAuf8CCQfUcKU43MbC2sxYvUf9aAmB+HFH0/6g60FXCxmgEZ4x2zi4nL406Fgldl1a7cnd0MqSzi1BYSsqeBjfMYxiD2gppoVpHiqfDhg/tuNiQd2fZzUkEdFVhvBQ9O5veTRpHasvAPmRl9ZM+yLnaBSbHWkZ/LBBHQbEd03LVuB0O/4Kw6bkuPRiYnK3oP2icbD2DmM4VDo9iLRSuuGPBMdLLt+u5XosbJnrKGbamYbW792K9+VbGu6is3rGfrAQzc5Zrs7r+H5Qov7WE4U7enB1tgt+U98NoSq4mqgD61+41PcJdB5BfBaXUT8FFnkNuQs5mOxwLS2XXbW6/3XwufXbJPdUwRuuTC2wR1XbJAnPEYp0di/YheJ03HBgBAUG3vV/TmnfSACHq0H5Mf095Tp8kiAFPtWaoymdBUSpxd1yMTmwqUPiipZQ8lhFHn1MMBNDOpPNLM4VvzmkxB3zGfbcKx/luhQav4kEAl8fT9Q01lvtVKGxiklm2eknlZvAw4mhJNK8ScsPTx8PYl3HNbZ7vAWNOxP+U0MdQRdLVd7SG+rU9ybaAN1Vg4ldwATpUyL6AaQxlXcSJinj2YMKksTEMiEO1C5/qgfhyc3eYezcEZoGvmyPJe/c0nRUFm7DWt/BxSNWSuqw7y4sVAbDjBxeeX06JmNOcTEWYbcIdvWYVOU5EctgsohZcLsIAIIABwr1thHzO/LTEutXEItdoqPr4My4drOEIxmAMZ9AuDTF6Vsam2voZuo5b+Vt6Jimcv/0eQ8golABfBGJ42n8hOQRTAmG70GKP2Z3Es3ODtp9Bv0f3o0/CqPB70yL5x1T1a8GRCJBA5WDGQ9486oXAapAvcWHEmQmUx0cYLCY/RH9x5g+LvVNUbR62oUUqEMNAwHZMvLLWCxzesil9k76YkgiWCFjz8VEtB8P3Xog+l2GghNnj3GrfTj0ZahQu5WNNzc5cWcPJP8U8nt8ZR8rNVVv7v1ZBz8wZky6ZOnKa+Oz98qSV5cldiR7NMhdiOe3fcNsOXMNkMZeRdAHPunvGeiOKMG3MIU+nmIrV8fVQbFiNzC1FZjDGelPXuLLKjj152/+MO4TUBP8XQ5xdrtGgIMcvhc6v/smBsUEbJeXx3wRFn2z/zwmMtoF+VmO5sgkAZnDgf8TMgv39tgGZ4k7koxu2GOyoPCC9Vq+ZxwynHhqB9aGXPt2Gw/X0O6WLaU7ZhorHAehMm6QzA25jndwrTbs6/4J5QTIxxYXaYRmIYNkiejVDb0IJXe/blTv0AgRG/FllBcyAgC19aNudGYwL/09g/wDE9AhPFypHhzUwJfpb4e6gPUIazm6+Zh0KACPMzGQU8lgBAtaL+SeNT0gMtPgttLKONOPj4qr6CYb+y1N8lyhAfxVWJhub29yZm9GL+rxoSvbVV9fJTibFn76yTeN5KmHmySzHm4jo4WtUEzU6YzquCKmDBuiTMZn5r9h6JH/hVgHEDUXeg1463w2dY1R/TL1c0nNLrPCiXnHfKCGq98d0TQVN9bhaKeMrUHjmYXurJbwWJyKJbSGTuaOiHxy85rAVa+DIzF/eCBemLEA4jLc5/NzJcH9PNeL1uhj310SOw2VukvxDmQLyFzcPkd+CVDpLE8aOgjmMuS87SoGF3Ke/xAt+XX6fmGSQo/8XsmbiUEgTxoa/ZbKiFeqj97UhpuwSuwrEzPJhti3HPrNeePAaDY0JwOMYmWCmkexsNgAC7UX5NzeydtK6b8R6POKWWiwb2KDIExtmkuXiZ17MYONmFeHxRBG5kkeDCSdEPSOYgPW/7CaLxZ03p5eOoFXjXWIC9TCzhtehDbqzucr0j8pg69yxK3FoNXvqPtEJlbCHOpD3Dx60fYwTvtf7y0TxfDdX/wwPPnRzCVnpr2tw7dpOyI4ext1FGkSpPSHK3konuaLWDYnkJKMLvqpz+rU4dwGnlbGPqkNSmfAvGi+yu1VSpAxliEk0M8IGh/3daw42pn32yNqv3ng0UI7Icte7+X1CERu+pgHp1A930j8BcQL3OoKlR8vl+sk+sMEwTFhp+Z7A+Wwbk61KM2ac8JeNNqzLn/LyD0TCCvtsxyO5txYtuEvoOjPinbGHKvIPR8aJYCrHPPi4xXrXpJ7VPrwVd7LE9Lgy0b82YQhiTH1nc9IFwCWlTsLaO98IYACKPVgwk19RdB87x7ueapNaMuZZbt4kCYOGE6s95IeV6xLNiTby9b2zA8n8WV/r1RxdW9toFgeFQeadR0sR3iPCphs3hmMI5XspaCn3xo9mkarqjSKtNLhJzTZbgF72FEzDbeksf8kBq2bkm5hNRuLvGqyPLPxsJtpnKC87A2IDBzlP5r6pq0NcZMmDMgps8iZla7I4UQuIH5AnBUFduWp7HWnhkjaycmFcaAj0lnRsB5dxzrZkVuBztvZIM99OlVY+LHUkHJ0cah9Ubdr1DyL46ogAxohy/TA/Y2gkq6wLM2NZG5I1V824hctQkHVZ5BC6kt+xNGgyycQF/1iU1pdG5/ZPcgqZNLEGAmbj4LB/hhm27hUFXD5aFk5+mh9EQ8Dxq/Xewt6HLrbsMex9SoxZcge4yukNmWtEDHyfi1a2Za0+BqnfIUFFp9BPkcXctt59NzH5/0dD+x34bbptygAF80QHUpwWxNHBoW6DcGpPAjZfJaBb2B3SSFh2WBm4Fib/Boka0rKTNkPjBM1mcqCxdk/QuwBOzyEfBopVyQi9vBCn5ZtSe4Xq7hrGpiRIka4PK4Uj8sABxNrme8WxBlCd6atouByvvydQdA6LbJgcMN/8LqEVhM0wsmlRoKfUO64L+st0L8qc2MPeuXGTOsm3XEEPqM3TvbFtSBwR2nXy23tdjf4yQznbM7jmIUsJBMn8nzHKemmomYIi/nPxjZqmk5Oj5P8AOc6TNvHgbRxz4uz0dvkgxDEqE8il/xU5/0MhfjWiJAk/yy39BOw7xqZcgZiuNOg2TcG2/lOymv+6nBwURcR6wB6sueAfL07Y0uicG/eO7wV4xOjQCe6DSipu4ZmD6oGBg6BI5t8MDx3ILcpRurtrhq5u0uBgosTRRl0+3Hhxem/b6cu5e1CqdR5ZTRTmVthObiSFmzqxXcMCQn7lNvvJ6borW9LCKPmyAiZ1BiMdG6fv1oavtBYzo64aqwrx/JmBemDMtNhMDhK4qwsxqXsMjH+CblLXfOq9VKKezVf7soQhWz2sL9VjTaSd8/ZcHHgJ9sGUG0RTa7BZXGURMr7cX+DnMwlps76QNFodClq8IWLdMu2arokEHm5El1TfjD5pIdXetnvp5WWm8+n+PXxWlOQKDUOsbhT9Q9EMLdV6TLtabw33oKMI12VcZ1GuurVEWXvglhuUZf2eI9uQBS+9IJLQoU/2vZMoBZ9XHIIazX/iJE7S/3k+u5cBbTb8w42e46KGY+rnm94YKRYywTNpC1hnq3HfHaR+9nyBZ/25Jz2y1E2SPxAFyhovzBPYmVlmcpTiQ01YDZlnb/LY81C4gSn+nX4QAFvenYWN8YDNBqCDd4+bY/DglRYAa6q7c6ZEmefVl7W94YvVdiM6WrexvLgqYsUq4XTpdGbzzClA65I9NwqjZaZeSiYd7lx36nHAjsu/Y38b2ntkWw35tFE5l74xJySJcygHRbMyjc4y0eCiZG1J9RypAwqFrRWXx+AzygBjzyWM2WK0JVRESQ6k33Z84wz7qCE5zSgR5RuXyxgHSBREpxY0cM+6J+YyWWJwM/DnucnrQVIsM12Xm/G0sh1VYAq9X5HUO+WSrL5o6o4UTv2kolYBQIPTPczwaerH3AB9uwgC3BErLiiqZbF4UdFi13WZ9meu0Lt357o0J9TDEyb72XW+7AK9PNOtn4CBCDQBXO9eaLlmeeV7wOMUU7yx3HhXh+YM7KuvEU9FrLjXmJH0dWreBFqvUhQexhjQXu2KIK2plAcFKp5nh5flPptHpEtfCqieHdZ3JT1m5GfBstbPdlYAE2RJ/2p3llmHZSDpEJSNb9xY+tRie8layj5vzFX5LRPJL5tctKh6gosJET/de3SbS723HkSBkuARieTRyVUAGNWQq8RZmMdvtncmEviInuoznKKWGzMJg1Ws3gBtiHjQ7cAMsuXusgabnGgFrLUXAfhDky1ce6lGgwzvBc24EyHUEPKY/r7DQk6nd4UYr52iIhrRYJwRuh2brwsPSSMDIpeSaxah6u3vtC3eGWgAn4utRV3J34Q2DBttUIUReq3rZBxpVdg7jUg5pNZ++QTW0wXHFQHoZbWwWfQUjElKmyM/CQ0l6uLMmxOK9vd2pCJOXjgntstwlnQqvm1dSLfBDBHV9b3vqMlofwKz4AkCmCgyvEVytu5i0zseTq3etfqvpHumaulJIDsGSwHnztf7cfvJlTLhZMIR2hE+YulY6/Ku9Y/URXpDqM6rarl3yqsSITs0xsiQ8qNgYARJ+gz43SS3ILB25ve9nxttOmULkjNozBJWA2ecrBe3WBwgkpGDhdGwl8Izw3Vlz7gk+zpJhi9No/ivUqIYtQ50sh0IAfUEnQ4oUE3KnzmOkJzd96EWcD15fjCBbAMXwnH4RnXn6LKgxzr58YKt9T6TRdRqDDKBsqTr+n0eRcdu3jEDESD7MMA7bHwFBHQNc+LrgwF1uRnba1+Gdd2/JWeuzl1i0wG4zKPRmiu2U61pGplruG2xJ0qrDw6wOnzDMLxezL4txVRO/Oj0Xt/xVZn+RnMIHhEbhtAcpmm3ul9gNNVUSJtgHmLjvWVnPFQ77IBLT5Q6fP7/O+Y+3v+k4t6M2bRBOkjEcKGGB6/xQvPWyTYFhcgjK5F6qb0MBmIO6Hnl7khkKU78Dpu6UdQYKnghZKNFz4gFccBB7YDqvQiq5a8wfXLt6Y1KL9ExRIIPpczkEfISLBwEciknV4j+BR9VDHLgwONRzdAP6llUME8llJRFau65KfRz1VRmEn2gsNmmrDOS7uLgvwebUIyt1ffcuVAxgwR3dyD55gCwEGdByzwpC3ZGiSdPv2Hz15Dy/IS6sX7xCuYmXc/cLfMPX97xM/I4HTRjRL2FidqED5gVAUmOmX+dAZtaIkhn9pRgpOQww2lloq2oZvaC6hh7BZP9MhQnG/Z8ztZGnD/YCE1LC3D41C41l8qjLoqY4UbUbUaeppgoV6TJzPD+HV3beJB/2cll0eI10fJbtwT97gA7CF+EIfzizL/9Iccrutz7jxa2a3iGIwEDRob6dsA2wDJLnZhfGW2Ac7Hz9fdJBSWvMqgeyT3/KP+8SnziHQZ1+GIwa+kUm2Dzyekc4RpFAMqo4oYCcoISuUMgD85qiFF+LWf7C01b+L0ej89SkR2Yhc9bFvgQB9XTlEwr1kRwsYx70Y/hV3I1Nwln1t3TNa78zyBxbMdjh6p0kmxnWzZbRT2OmKaN2+3FuETXu1OoY8xMVYjfGs7ho5y4odFoYrI12hE0/PYIMcznY5Q4kiiqTYlw8SYM47RbYL93DqCH1x84Yo6x99Ctwj3B89c97e8jJxBkUjiTBj1oq725w7iX5HDKmKAMvi1r0//krwV8y+EPUW0cQApGzfLsKGxBQQqtVHtdvZlyys8AHsv9YzXfladDkKRceXGoeneFWSbrjeKLJc5pShjg6D4A4vr9ofA2v9Flnr2BgCQF16EMVt5iNCuNYiaDDKzY2XxfXBnj7v8hy24Zw9w5mgJfa1Mdpj5+0hkh0VtNcqdwFbSXbAFApzQGMvk/JGM/P1bfClpM5+sZW1aY443bYFS84H9nn5QNplP7s3XgVPCj51cwwW8lk2T47Q7DTBwC13fdOrzRNhIntb84cV/VSuM0pqdm9Z/2ovdVnvlJUOF5h7fnVsBOtCzhHAev5aVEBtBsX6Ba5RR8Y+IQOXNiPFA8hiUy07EMbrecZr6EODIqK96iGTJ6aLkTFfze5v5cE+kVxqJerFipR3ZTT8X7n+Ca0gWBl8WCSn1pUVW2L2MZHoW9QxPFFGAOnlVkEQt3HnBBD/vSR10OVNdaMMOfZzWnHi8lAKrgk4n+J29Z77FZIBNeu6r3DVoKqtiKXQGSWJjNiuLW2o+6EAWz8MS05ut7/G5oYicgnA+vd29/4UUC5vZOBrjp4StM7bNt6RU2r0XLDFbyxbnJtFt0SKcTSSU8NooEJcsNgO4FGNeaH5B3uFCfbOs6tccuGZKqip1u493m9zVjbks5vsa9+mJmL0ynn7Lqk7puHxjGbZ8DZdDJin50ysmEXxRc0+69UQdwCjp75Q4GunRQuBmuBAQrkdATaQwjrkm/VYaOYa/azv2asSf6+K54raSOzoX7w9pM59qR8hiwjdnWt+92cN8bevjgo6aqEsx//A1km7z6slOLBH7uV65MO7eFDqumQJoWULI+hKhLfSuxWXtTJ0NGUqnePjh1nyYc3pquRJMGvOIhD7B4Y30nqAhtNlkT2QqYuYooDnmzHz7RjEwifKLKskpooQFtSNruM9vrpYKQ6MViWz4g0VAq01Im5Vsl1jSUt9uKdfYpZB41uxV0++OYwcj5j2RtcHyzJq6o+OK1H1gm6KZvxG4bQQE4HSewMQe+HIZ6Kkq9Fp9f68LhxocSlvS1sPyLXhhBydhV2xdIL4g3dpL1K6oCx0xR7M1niX0l9ea6GS25KD8JryLJ87dcbTKOsXs6QGUiUfuSXA1XpSSRcyL4OU7SgWj81NaiwjtZBCE4pjcjW6aNYNWrMt55H7aFhQmeMTRwAXsejb0BNKG/F5miecRu3PdxDWLSe6tdS+Qa5/3XHXDffHZZ4GXQt8ZF0UHpKtDwAoWET8gWX2d+z9JfJuSpXXO2MyfaDsMTwo641F5M/TQwaPXdayYpZXBg6J0sO4tCXJ1CS8lDc7XlFaB3n874+oEEWA4mrRsEP+R4BNQG5HGmBrzDDFa4Tdas/uEbnSWGZ6Q0vL9GZRSBnNOw0CwGMjwycBQKTwYFLNjLW32NUbuuXasdmNqrQlYUvoi2hhyCC0FdF6LzURTsl6QjePw5dGNF0wCu/59A3UxmjMPQ4ERjHLrATabbwHIeHuiot/FQVKnRkS4JapwM1g+hNgw3KBKSrFiIfVkfLdnItFUOnZ6kPf6xM7M8GLVJ6meKLvCf4j2LqSfoU59xhCM7Z31hjvth1VUe1+pqSE7EVc+q6hRwVZjG3sJaCQPFMG9Qa3YjltrIqk43WUUhvxth+6AXD3JfoY/4wOv3K9XiES3rtME+FDYdaR9Hch2lCEVw/Rkb4UzsQvd72xSS64o6hAA6p9kIPwH/wK2yPwNoWnt8G1VhVjxFHYgBegI2tDnPSjAqU1r+xrXngSCkEGjaMwpU/5RpdecVmzW/s4clS444ZH30CRJiCOvHb59PP3PA7ejPHSx0tLTMXJ8fdor1xvj03EUuVFPFMOcGjAWhQ2FCEH3fDh2AtyJYlAqTanokeMk7Y3u9pr8p50td9ie4Lgv94BV6K466Nx6jBdM/cHPYCjggttigS3IzdmqC5iPq3HANhUBpvKxFKy1ekYYEFMO95taRfNDletjfigXyRh5Pv8GZJ7Q5s2jlBXiIpjPy1cbf5iG1D8dDiIG4bOzO4GixlO/Cbwms14v/PWC6/9bIVO/nFtkhAzY42bhtJvlhGPrxcfMuZRXN+8FJLIFmPiR+G3CF8/y3dEFW97LI6Y9ZoOPfz76CTPgAu1DshgvH27W8I4Fw5bkU2Q6QL7zGWaj3bFgYdly6Fv0TrylkAEFka2ZezHnIc3vCedqRKf2YNzYEZ4ayhaRdsHaJ2TXXgf8V8PnUDZcNNslfv6HwJCvmOiQBWLuRbIpICt9UqfO+YwEhCmFXxiD03r9QwYPYabHDltsQmFgGo0v7dtIAAmj1ibptDtNckzY+7XGpX2TO1Z2EHZe59UwbEPNxMTP+swVAJV9xlKGeQvW6T/DQc0gPkGpSu4LK81Eb4THJ5Ndn6sEN+//4cMBFWaoeydBhhJk/Ga/TmG5C3i/hD2/F+TnzIZcbByKaOOATwHh8/1mTGm4EdgEqoTPJBpJyy+gYQCJQeJWQCbFGZVDo5U4YR09yZZSGCCgWsk5rkroiO+xxGTyFrGoCX8HVldsDwrU2fb7WP1LhjXvDBdpGeB5HttuWHJHeQP5NmigwJ/keqc96AyPYTHR83HES+diQSYBAILdwRZcopkqOk/hQL6kJSiPxYtQ01Bqvaq+D2XLFzagL/BpeyZ2GAtpzoWPA2qkk2L7MdCps6mfbL5CW2uwEKQ6WKklYYu532zPkEz0200fomBizBEbkAJNlO9mNbV5lQTZZN8Davi1eZWpkMQnjf+Yp4RPRGfMqMlauU6+M4udl0PLtkO2/AxZJ+NoQQnBCcf5nR1JAroNC2IkiqKk+KdR0ZAvd4nK1znoGbUiMbAu2aPv8s6qtDQTdUQwgxRHKKuEQ4kNWE2fHIaDDHGg9iCUFlK3COvmCPgdGYmxAG2Nxl+mvhnf1IeHynZERx6JjdKgEFeoF6znHWnPaHDyzsbBmftRs4TXHOVxL7AlRoxsMiGrwA30ls1X1aZbNhlKBdw+dE08RpTuOHi75eyMk1HrrrsFgIjBpCmhyQF5jyadTfEPHo9DWSx9mz3Fn/yJrCOgQS1kEjcTgwNEVm2s0j161f/o3W1ypGH2d+Nx1+sSvjM5IlfHzp8tvh8qs6wbaDT6S/UAMPRWnSSgIiL07BUZtuKWQk6JTAR0bckF0eiK2Rfx0EXt03YN5voPNBRlWiQFw0oSv/DjMxhxjXdCQU2+i8l0xXCBJ6Xck7GhSKtePshfGqWAyCVc6eJ33ms0esmj0hddtijn/oJahvNGZOWcUt6Hceu6RWePih/Ye8TGBNdsbYvve29xl1kHiLRaiOF0oNLVNzJzwP4ACJro7kkfRAs+ukJ7C1s2hycMLKZy66hdOoENdTyzz3JkNT3e/tzfTD3LopEdHZzdDcSh94gQeQX3VjiAfMDanPIc+6ux2TTvSj7DCwRpcXH16yRlB5XlosEsjcb3DXdo5Smhy4Z1mMr3Qa2VIJjaJJbjo0IqXrJ2/d6AORTmuFDJha7BsHteHL37i2KoCRvA0a5Ssn8AKzfTqUMAya/ugL55qCHEEFEemxyaUJKqp3wVg6RB/apAZIxTY8se13OksP0LNwfyyZpREUYbVVENDwvG23AB2ZDwBh06s36E/oQov9S4azac1OgQVC/w77U8gbFvRBGb1xopf0SIGTpQzEcSoQFAIdACVF3Dvcbbc/+qtwzEJQ2LgS4D7n9tBhO11RJQDs+VdjRvDSbYjSoK6pK2qYXCx+p8exnwy6cH1SU0zWNMsu2DIS86UKCzOyizF8O11v0yVb9hNKCr1EzhNd7uaCYfJx2lm6aXLcGIJQo2KAGWFmEJCxzjo5TMzePHR674hEPDB3JiqqVHv2MbepDSl16xOe1r/8pCoAVuG+c0TswQZhLSfNj1PhYclILDP4cqalS+vbGdYlvImRERO4kqEzvQqjxU1P9UMfma0ye24vfNpC41pZhOfpg2GhaZoHLiCX/yaps7u0KXBK0Ljn8HZYLaafqEqfupkMY4aLD0o8YJtD9rA5WOtetC03TdMuuP+4L4xtFmI0ddT7ssD1bYwak8k4hgNYN6sQflzNz6sE5cN2crUfYuDnPbPFRSBjzThenJAvdsmvGe6ul1FHaNBp/MPoZlCW0gjsuwEs7UcWL8dA7LmZfEVYa07QFw0qgOZhvuw7s3/qV20kqf+9m7pWsyscDIaW8MyW93me8IznnFipiEaKYl8/GwqUP5aBqlPbABmnqZnLIhco0EK6Rbnzqr7FAGZry5c1d1zumqEGLv58QUPIT6FizCn1Z/h3n4umofvC+MC3WasfPsilbEzC8J2hjzs91vv1lw1ZpQ2pH7HY5UvZvQmX5cr8IIZqT3aqxlvduMGkOCeDicMpGtE7ZQdPlwquNY7ISFaqzJlJPfVRmEo1meTY9FNJSx6N13ZmPlCOdkhk3TTNHGCwtR0mAmYwf5c+pKvPKTc4oN1CXzSCkW0Bc1AYWSpWNovZTqfCjWiw525w1QlabQwErQ81TehrnkUunHfnWRPKdRSCUnw1m0rHtslla/6nruh1oFJ0n502gkoPD0ByydR3t16hnI7WKjZF4rSsDl2qACdEaL4P1DLapSqNfe6QIFiD2N/SjUnMLOY8eNByNLP/7CTYzt8B8rzUcezSYJMAyGv87VBHuzF7jTbz3Wg/LE4d3aCL3R61fLWf0r6aOOxt1/qm/DbLFJtgynTbkMD4HTRPLPiExAKzBHvKYIw4meWl7Qo0ulRZC6sP8PvmmXJ4nYq/9xGqkzn+prqQwNdgkN5Csb5lacDJaj7f3jzjxRQ6DZhdHHMwlDhFybJpMj16n9HBZI/Gp8+cXf6FH/YOvpyTKRUxSEu1IDJvi9/4KOXTgg+NQVKgMQb4tkNd/kURijFRJHwvftlnSDWzaNS4F1yTunPV24N9Y20eqF9xwjbSzqLnbyNB2iUq5dT+wvTGV04k0LPRNq/ynD8ViD5Py+f0jTey7eERCHmVqs5osIhD++m94IxN8KjEo9L0pX6yE6E7tYj6QMeWtmF9ydXJmRtZEQToTwVE+hkX2fuGRd/2VUhM6Cre8yX8usV2s6/LVbCUMLeJhb7OLpHd7fxEHybgksXExC4vyZffzP5VWbFGT5n0kqSKwoLf9gCzyHwKjjjIfqRf5tOewMPvE4fKODz2nzzxa0dkoFaIbW/5nukhTIBhZbidgs2fODi/PJoxQASgYuklYWQTGr9PP3lc44tf33oFCFc39Vkm1A+pL4E6aVgN02CnLIknUMGlpZPNl+OWBAZ78Q72Tbf5Rd5R8WpyFBbF03qpfK1SSwnBEDBQN+bYh7Thpla6m2lC/PaK6mi4YkQa5LL6L+9U+BL+RjRBbNhkyc+x6Cc8e390d7KYoywQSlyRTtbISLKsSc6DQdFmMAOMb3Ssp8FLw0DIAhoH+0xOFyx29SDKGT0IKSqspKoz2SIpwEM3PgahYqlhhYpnwXeL4CAp+m3u9RwV8+zNs2TEqrPqWzJFDXkP7npBAK41GusM/ruCPXUPkL2caFLdRL4bwpOWq3HsWLa67oICbqzEhl76ttTrZRbsFZaGnMJReg0el29j87s1vugISvDYpchg7UUbHwgHU6NRuDzFGpy/T+2pjlUhle7gHSMQObvTHqJjsmFmf3vboQShgue6r5R6tItmouMW9UXR4mdR0DrtI6cdb6zeApTgw4M3+paFBmJ7lzGxRZGij+qxyGAqHrK2wgGGP3VjtRAF9ys+YH01PMdtWM8Zo6V/y8KBxJrgkKEhpFeyzUXj9vLFQ/zA92hlCKN45aMTnl3JQHzjgX3vvLdVgqK0pCl09He/+C0U+6F0D3RNpmQae/RfuJ73hWGyEAoKl6ssfvMYG0Cppmdl5QM1cPa1uWKuihUZhr1LvEc0XhF/B+y0jFwRBWk3kKWRPOkXuGhJxQFiDf+iMsWYlIXG+5/UprfSFvA2WJIjx60VswfayvwiwUviAfIKBLcissRn4QLc2DhkfpDwSgKJaabZOf6wF2bkLykt7A0nI4Scyg4gojwYtaF9BzDF9wbqYUKJ8hdh9J/tKf2vo2z7sA7i5iER347Sr5qjaIGIruK9NmRfq6MwpbrCJWAHwIOzoE5Kit2wQ9bHDcHwdHc8TCLfo0xfNVgwtrfrFFCAXlAKHiYIlK/9xPNOnxvOBgaE472hkT1s5yZF3aLTJmApaejGsQG2EDJfSwjPybKPjiEE0ae1Z2zikZ6Y7N88uGKTjDazPq9mkNa2eR8xI4ZGyXWg+oVZ3CjxBCeHtokR4rjQ1ShesNVEBpkhJskcJHrc0p1X0Cq/wJBpKEMRKaW75ZwEZpuDjERwjQEQ5QAquWBa0zKUQF1+FPWg9BjyL8M+L4yMAKja+1t1R8+dZJLmA6c3+XRvq6ZivZs2d9ALoO0bwZTlwqRceoVJpgCjl35iRKXVAlfQRDcYj6l+I5mqHNXUe91a3V6siq5ElBh4FFxis4kNtMzKEHB8r2JOHdu5SUUxBMoMSXZVHb0eojvW5HyBiUL5hMExfi4TE/+r22RUpSZ1tqJ+gA2b/f0uc0bMyYD+Qd/pNxWsus2YoXf5NSaVMSA/O7YeSBSjUZFyxjqVnaBthkfwef9Xuc7fh9qoXZoR/ZeUuM++mo1e35UI+mDzA9QIC/gUrW1zIFJsgF4l6P2EUNYWOLcGQ2OvjBaqdy04WRpq2ibqjSUpTO5J6jVB6Y1Sbdz3rI55n5CYoZR1dSTc9ZGjoUpmzQI4gfXqeVAf9w+ynx8IUedW/S4x7S/ltatzFBLizt5x6EI0EKcvhS5n2lrq22x9YzjTEq8EGpSyp2bAJl+YGaHKiTahsJAr5+Nh2eS2DlYC87MFyHb6JzSOvQ+owurl6jLqgK/OQUKVtXnv6CNuEtyeTJMoNFluewXhx7qdk2TERcze2dNq68LjGk5nWGEXapgRKskoUnLxqjgHhfdOKRvFRDCy02yndK7gUGcAbV34JVsYdYdf5JY/EYp/ds5sDKooGF1dk+XKb9o044lFyf4yTnhBR60WmJpo14DamaLSaog4Zw9Ewl2W7j+vSGezGQWulTf/XpClht4eHhauSWmblMMRB2y/LlX7gFDmHL+r7WimpxawN9BvHUhhAbemMtNRlRop6l8zjPACcUxVZTi4kiaLfBUjSpT2g9+rLmcsq18amw09+1tnnZYvHbg0HlZtJuA87OqOUHEKHafPgKf07u9hgDZa5bIZxfyHBcHqDdK5xj50J/1XA1MgnwYpl28eM8w0SosSYXN+YlNPtomNTdy1Y+PAkQhqAIhvECNAN3dg9XLDxXNFuVYIBq3mhODEZcaU7hDgp+XJkWQS76ViDzaSJA9GWus3KoSmH9ipGZR7yeRGQroe4U9c20Cn2CoCo0MnRCZN7QH9CcM/zRv1zSbaLhQUCXcJp93cjXVBxGMotC9wgNsTn58cFJSRTo7y6auAJ6IVA0taJdXWqS63pGM7K/7DPuVEs+SQrwRJOKwlhtw+hqLkJyMwoazVkl4kRZJw2RgHFzTBOYCxkb03bwPpogZVP0x5Uutfpmgo11m4YaeD3eQIo9WM4kWCfPlsJrJ0kr9HiGU6byV5yme+dPEVHfraFXg/BxcJsJAHlj7j3Z7chEtz57/ZrFrokefkINXV/mEk0o6y4qoS7LpG/M47ZpTDfxgzro8GglH0OCcT9yuCJB/LOEUqeXI9P9Rz3SX/67bR986KWVsPzHZR6c/nM/brPf9N7K6ox/f200JmQtwm7DCjXQJQdw+PNp4Ef/Cj4QbPKn7f+TMCT4d+iMnLtGRkyQhUZOokbKtZn+8jfogbUqlJYuCfvCGZwy3UypC3cFTClGx1QsZmqVoLuWu3Qbj0hCK5uVAFSMNqC4fTw98da/76p8/PIsC5gGmaZZoJJYdixAQ3U8wSIMV0x9wQFf6OBgABAX9M/mfcBFxT7yCmOkfNFWYLbCv4vnDLnmvVntNsOus9PVEhzd5qzWeo0rlvqzLS8XBm/cgcS0i2BeKCH2J+maW2ZvXKGFl0PKqNty688L0FUubdvX/Fy66hqk3uW7eZ6CYgu5HXxBQbd6rconI7Ia5uCD1B2S3QA8cvIYqu8wd4nYoNXod4CQwFyDA73pZTDDLMRd1VQQdngcFT4IVLTDergw2/n6z7HCtnWYRjF1LgsTQUcPjs0RaoB0pO+deerp6FA1ucTUcrJ6MBadAburETOzyZc1ufre50HKVDWiMIebYSQ9DaotRRmomIuEHPfubLMTy23Icb5pc3oo9lPxzkAax/TyGNH3jlfYjDECOewnj85ycBeqAtGY2+o06yIQs30CiqYPue/GlZActu/fqDQVX7JbAzCPHVkPTIVvWGDHxo7CX11VEWswNS5711kbXEgbV8lu+zt7b6V8fnPijdzxJr1TuALk77dJrID7UdV1LIGEkDlc/Pu92+PwjhYkFdmDvoz8a9umtkNJvg4UdcBdSFtGujTTU9cqdS2j/XR5hxaZwgCk+SMmoqhoWUOmYP/t8eqKkf/6WXvwL74n5FwMSZLGegG0ELqTe/GKRWwQsISKxLiXhAf9l6uRpTN+94fO9mJ8rsgswuasRKozILL0bxZNe0pYnTBWDsYVek9LgC2b6yECM/ayYiM9uBFq6aV1YS+hour6Qae1wQeRb7QmM0UTj6ShMJQBvF6Yvzpp5ZY1ZVmoUNwyaeQEtV40XyfOlNZ3uKxewfU/+/lP9LOu3IsCgWpsoKEbrH0J1v0xyYnpeAkj5sHYA4aExXz4zhHc2je93hvAboN2ln5/WrI3BRHzGTA4AXFq7maSaC8Ca5BcM2gWnbKKwLnWotXUhnkgS5uA2DhshDu7sKITVXxO5eZAgPiAHuwOjnRKg3KowKgZFc3JjyNrVE9rk1rqeu7nRQn76r4DY9gES9WAmPE+Zh+3Wm4qurn4WzsUYNpdsSo0dmUOEGa5vbFF2lQfcCm5l8P7MQiq/pNYSAV/BgYl42h6mPi8GoWbGvcJLPSIPbaKRz1Fi7E3eLfbS9VVwCdNermn0p3MAmKAMDYj0GIQF5heajO8h+LooTjsp1LSEfPDVeK7WMMPYSAznc9NWsb725JopIpMst3Hp7M+COhl/isBdHTwMQyVOtQpO3IdqfBOKAZ3GHUVGyVqEz3Ih+xDN5vvuSHu/ZBrOO5yH9sAIkF+L8MqKY/h/hWyBg7Wd4+Gj2NuwZcFsL8VLDaMEkI08Id2XAdphjwLN77u2jeqAdyXwQeIbG/g8KCRXobIWoF81Zfz86UQkGVRz2SvUYj4EJz0xc/Enoij5U5SyogEKQBfwSig3udcPLTgafHiy31ZQRWo7REdhabajrVNr26zkwrY41awTCRbUkEl90+BTihBnV/iEEcoyIwJnYY3GLA8iQlJ3TaAbKFFc/KXHWq7uN0+ErpL9UQNjsFuEFVGb0tB4Goz9JXnFHAcVhWiGGlftWAQwqfVv2pzwyXM3d8G4rGiP+WC5Ji/GpShrcrt5gWeYP9snVc/m2QVIWeZEaH6GZ0iMh8adxTRS1x6q9M77HKbg2LlX8AJlrWiriDDcnTA0G0R2zPnWiAZwWURMez4uShJ10RKJDNs67Jbg7rW0FUG4eE+RFceBjoQ+TNzUmCq01/zPph+Fma0WJ7Vl+LGEBp38fTug2PlqQpdjH4NFotFe6gCYFK2kVZDy5MoKykUqsRdx1Edf8IgFRbdas2HObLEgkAJGOW23VYFueKvEfj1OIyIvLWJ2B43prLOKeo/xpF3Fzb8tvzedM3fMzqNdbKumW/GRZNUVvpcFjg3DzOzc2u03gb02QLTURt354FPF3HYycIHeh/CLWe7GvngbDEqbnkj5C83hYnBONjgesjNzDnW/bBCtI+tvFu/zsHSrF725KUK/gFLVi/LKpVdLoE7k6n9D4zDFYlSC0VJKjEp9eP0yIr4oQ1E3T2ewIMMd5B0RpLaRPnyGdpR8AzUy3OkyCWWq9LRgQHpj/d2Ba8uTGwSOoeUAnMcL9QkIykGeXZBdeYTL0TdO7WABBW5vpHDN9KGCyt5XgEM7Hh9esB1qHCdMS484uPhZStPdrv75vgknwaY+/MWXNDLG5BFlhTQ4LgGa1fdV4Wbje5jNtmv7Hag6Bg3y2/57NaPYLAzcXQhGKT6DDrLgbu18idOemi8Z24+kZZaEGE3EIE7Gf+uWkPePLc0xfg9qhmhBDXJQ13eEkV8Z5G+kOvWJ+BQAgh+tVRPzSCKiM2yzs2Aforqv/3HyClEb/MEeWU5SbWFAYrbT2jvLixGaKrJUtPxmscpfLrx2jiSXVp7Ej48dIP5heVi14tUCQzdJ5szextI8SpDkWkmz2Tl4JLDaUkQknwp1pGVDT9ogOnVph/Tf2TmIU7CrNX3vgxSl15wl1BliaTJPiYFC85+aEz8P4CCXkpdP4Gdwf3swNgAtluKYZ7drEC3XqjJXEsX+rk+7x6pURcJf4S6xMVzEPTX2/oWwRmvmaFGzgCnBTUJoOGkQ5iLoEua3mYb6CzaUChPWfUSLVHd0QWUELRWJaFdcPuHjWdd1h9HlJa8itN09tB2OWBQmhJ2HAYurh3Jo3OR4n/EzSvev3QpZdLRPH6mp++Z/mb/wv4fltlo3JZZHwollgAqllI+EV7AIJpntz9+hZKRt/+OTtOUTKwih8qMWHUWICEo+113WN5LKS6zRM0D7FlX+1kLkGgn4MHlO/ok00mSTOhnPdK+qpkn/5xYxhUdMhmQPxOF0kizE9HpsjjMfDIU7Dqr5YranVosT+5p+ZSk0fWCIeBbKZUaNPDZigU1CcJ9wmNNK5kYpZBd5+4nIhQH+4Ox9LlMyV5uras4IL3tvFfJvnXdqeGmz310k9qiMqG5T0WGt/t+cc93OO15+R5iuBT3V64J6rS9XgzcNgcaYo8bmVw4jdJbOyJryoQ3kw22J6YHA8z90kD8BrvU8AzOjF4dku1wdcLbl9xidP2XCiO1EFxHNUcbcCzNe6hD+mkWEj+364UxRzZSji/1XE0017FOetp16s9eGfTrArYZxMWUHGP0hg8piKPNYYgM0snLIBvPJ2VmOuZlrMy8HBO05/LkHbwhltXr+ebXPi2AbtRnEN8QuAlHntDAs+WpHuprjeqG5sUOrAR5WmvDMb0m/hOtQOxjr4wy3bwTSzSlLPl4e/32SeZ+YGTW8wVLgu3VYk9neoOUegfmy8fEqEPfw5jpEEF3cUTjGZR1RbsZwZeUHrF2mE6DKXBODU4N4mNnGXIsryRhE1HYqyhw5SgU6ZE3PEmm3V0Q5OK/RaTX0gtwqnrAHYtaUUMXJhv8Rhq+/XkQaczX5BaycalzfvuwCxGE0aXHNfiY2x4Ek8D6tpCj7qGJtCAd4PuNsRMOmmSxO/tqaxOZfp54wpTPI+pznCk0+UXiG8b1tQFykaVKffPYxSd2InH6yKBr7ZAi2EtQaB96Dd8skLW7vhQ1xbpwrlCC370GldAXpZBZBSWPrhwx+Wozd3Bpltn6nEGE3K4H05U1E4jth7603SlaRaAxsgKwsJ9vogq19RngtkeHhtGYKDUW83mCANEvn2JYn0v5IHyPJD8WjYZJgYyxUUWtCptRxfDWEKGPSI9x+a9VDkT5WUCDEvsXX7yWvrrcTyyV/LEnvjYZZS+sUsoee1K5X8udFsYQGs7E1XkUiKoaRekpE49yOg6dnNGO2A3MBvM3HKS4i3qmHqgJ/dJbuPs7EDcgQ2imhdISFq20VADBdR/xnoPsg1lYQWrDVj8gH6f53SimMghn1UosqHmbM8o+e66fxQ2ORo0zMXdtWaDQ6y6BZCyMNYsqLiJ8xuonJ7epTvFXbiOuv+kJKGS2JmoVPEmn05pMunBYImSrJSs2T2wpE6vHH+ymAfaVwpLal1X+wHMN4XggVXDXOMZP8yin/hKgzwzbCLvm2IYDY4ge10Y3eWCuYLcbcWIXjlJJuJYvFiSNGsDUW6ucT7fbg1bAoT8L8I/LLmoI+1Pq6c8cebw6/EdB9Z79+SO1XJc5B891Ie/5ApWmfyRXWYWOYXozw5Hlbo1AjJuz+kEShnz5mxTzuevKx9O7f9Oie7MA5X61E8aDFw1moy0wf2Ah+7bTy4Wm8DvRX2ceT4x0nzkpMTP5Vtjl70mStG9lGSDarNa/1Tl1NYz7LAfnWRmXiBKT8PCwLS6XyA1/5Hhv1rqccljp98tg82xyCh7LtI1EpE8lgjLiMjFJIzzULJxg45b8QV0wc0s2cvOJTpNI/AeaLszLnEmElCxwsFiwpPcgO167J3cbUwSJshCBHBPp9mlqUtsW/D4NpJcVFTWbAyPpxe+Qw80kgFNwlHe9msufYvdp8G81AZw3i+2uoNYAwqrEfqJqqPXt0usAXBrwUFNg8DhWgYwd7CbAKaYIl+VC2qm/sR1WHGc22IEk+t8yvogvSNfEYv2MO9WZsjWnJNZ9OD3niswE0zPMEe2SzG+76fPDqhawCSAfG2CZb5K3MxahpnTrlCaaLlegSGPpxc+NN2QWWUEAj4OxrNHMdxKJGJH63JHrpeHcPMq7HbfJp8/ikQw8xoabJec/+PunrCdGTfjog2Lhp/a2noAYiLHJPxBFbQ4V9yvNYBZCCj+KRB/BEm2ENhYdFTQ4jzbM26dTEhLXTT+GOK8LPLm64g0XpyNRsaIQPIYtRvo5XvJj/hD1hUk+0fVxeeu0nz4+P/jMH/Hgqy+Q+ArCUQfGDzPLbAsv6pG2qJRh3n1yudUJsLFh656gM8RdqKgA0HgUBHIdmSwoWPiiHBGt9BUJVijpKmtW71hADdMb5CJhfciIvlXn5/G31mgz2CNBn67q4Th231uvBY1Z5I4/LjP2+9V1KJjpLBMo37px6GiviPJe8Iz2uLTtVOmPmfWN3Y8xIqSmN4WHICoDIujUjDzrH7YM16PvvW5U2l99nZO7ZSmHlm0BlAhpwovlAU0eJ5WWLypnppaWUMeTcZ3JgKFMOdyI6gnA24tpzpv+YKvuxIblNuLgaX+oVuupIj59Lg1TrXWbvMJeINZA34LxTGLDX9A3k/g9tIAHeuJzEa9J47Z05F7iqAmVUhJUZS3t8DdRx64LIiOnakFOzxZBlmoF+bb7S1eQnrnDDmDg0kYndP+hBTGIoI7+bDBciQGmDc9+GFGt7D/vX8pt+HTtUDaKxnvPgXmi6YxEddfLiDnJ7f4wIgaowX1QuqZZJWtPGscv8+N2Q1ubPEtsOwNinsuRm8JsGrih1a0kF8AjtDHBkGejVsC+rGJxNBUT32aBFoI2s9Nam+aL/+pe/KFrQZ9KKwruZTtp1+2vXQcL9CeaH0njRcVuRVA2t45SQNHGwVQ79ai6g17CwneZOAYG9yz5OzjJcg+2e18v80HZPYEjR/s3xn/R0ybGV5ovrwo7aAvIFZJ8zwdBdOH290c5a6SuXmzlFLkZlcz3NJvm+jdZqqyGwsN2Ag9hEvlKECzXydc0TXDEMm61AU67Dy6aNBfT5KSoVlBkm4AOEaEBau0BhWxGMbV9TLK6/NVdDpyPhDAmIbtsgUwllERWgkbGGdmAJ7hNyGUuABwDHEWp/KGtIp6/kl1dacbUEG4I13PSgvcs8z+SzyIyiHwVWPZ5OeGvNuF4mY7SNskHzeOEtbwTgxt3qghPt88Pna3eS5yWbim1dCCZDbEO6Aw92bLkeVCE+CAJ5vlfVYG3/AMoY/hP49F4rbrSlxQt95Ve7n9nHv6bgt6mg9WNE/5LDDgZsoGI5LyH5ml/CtPsZkrjGaG1FVXuGUwSYCgyhcBU372yhjabZ8QApaK6TZ4ikM1BQAqRus4YbWG9ECtFNRcnH4B8Cbk9tkLmsmIT/neuSDnUhyPjv7gS1XjiJmCWPBLLCrlcJHnE+sqVqXlxIMuPdpEoflxq/P1oJ4Y3zDMaREBJXIxdQjLj38N46mqX1LAFGEvCse5U0TBdJqBAZnvL+CqXizCYKQJje6cLg4w123CChug5edqDCcqwEIWmpi1cQWDMCcYrfXUBicAAlo6O6M5Wxfi3MjuXXYMa2wwxa8FHvbOn7BBThsPm3GJvQfNAXNFFXtTvhIX6kUNR+CbHzVn7NnmAx9iZvitaMQGJtRNSE6Sv49ImdkoP9kILANrPIBoDjDueVJ/GAKV6IDhU3BHVuvyrKgFxSJNsiK+YE0yWzSGOINO0axAC+wq7PyfHpuyH6upvwbUx513PXj94M7tKprBHPiy67nnah3bxcZYhotOuSP2/p1O2ERgJsx3HExjUXyV/Q0fwCpc5rAtJeJ2FrCHJLfo/nNcW65hOcvKo+1MBNkJwJKTtZTXVmUC2R9dY3KJbWfO6VYoRk5iCP3aNh+httM6ORqGqbb0o/gGoTkcQwvO4hI6G8j3bWum9OnRdK32Zkaf3lG77nw7DMPOTSX9/lz7gEHwpK1/yEoJWzb6/zSBGdp9ZIDEMzKhprEhPPnPGq/ysPPHgx0AKqBJ6SS7OID1Y0QLTEmb64UQ2FLgG1A1hI8rQFTOv+z00OOWAQHHifpEfGXMJVCtGoY4EbutYuPO4s4vWH6PsRLpqI0S7teDYzUWjvB/igA0Ca8G5YuesHYEkCstaKXP+7BvYQWj5+6eV/7lt4MmRCKkzK0YYVzXRjnygJmJXqS0tMg/4IsnRHZshUbDMbnKXzAOuZZGgPduLxXSJjyTTZ+TIL9x2r/hhDpppxJZzmC3cPU3OrUVzDLjzkAwadmB2q/2loE/4CVMFdOPYrS3LDVc33oal2cFOPnk8tgSi2aq3cN+YoudB9h+Qd7SuuEIxP7nE/c1D7vCYgVT9p6YCwZOChmao5ptUzNXQOWn0B+HT7m+NLmr7y0y15ljb8yV3xwCTfa42fPyzeOJBWVKeGtEMWK6EtPLwlWQ85/81xuo4N/0vJ+3jPiE3weMB89FxJYcN03/rexkSEBr7If9T/2JzaVIQZnp7FZH52+z2EBx6K2jANuLasXhGKCXq7NnZM92FtzUzdPzzQPZSvYux/Byk8Qtrkcm7MNenHN9gyuMX0uxQ8WR6ZgRcTmOrN/c2ONr8gmNN/jvlSKpTZoU5muERR9kglvlE6Ex0d/tpJ7UftTTtmbhlgE5TJQ6897tMT3ampN1ICQ03QoxAB+0hmHaBba7ZTdyncio86ZaiQo9DHybXJVZIpO3sNn994omQtyxh9EejZypz8B0tFD4rbgIdg/efXHu0tSTzwjD97P7oPQhLPz4Fx+S+y0gl7uHiwpsgcMZNTzT1XOL3weiqq+N2iQf7nK7VR3rNYB6+bxY4slcySTRk7OeImHNMk6PMIAEL2KzZRFOKaV2QERhik/u0AQmkvfqL8kKdbPhb4wXY45igeLx6R1zaUCtyqT+tWIOzzrrQr/+IY8Gfwyyw3ypJz7UA96c03X2lgwVm9ATYGx8k91ivawcYXh45lU1v4Kd5HEDvPnTlqQh8htPieEWzVOijDJFgj+I2SNVCpr0WTG7SI+QtnB2KGvXiN3M6ai9p8xc49p6oaLHv21z0p+DqaCGd/ukItLbSnasuOTRY7F4DQbylRSBhnynVkU+ijVl3P/RX/uoohYoNR+fx+7xspnlQp19pJTlufJDYFAkpHG3c7lEG7D/AsI1s6vGpef8qbkIQKVrLKUEO7iD1oELVjmPhLbyd7o9GBMizBPAaIwtHkmJu/04yXxvHYZ88CjA16jh5OUU4K22twMHcvrPey5IR8SFB/kZ3ensVUY+WcXTIY9nVQOXpDymV3IuJFoU0zgJMuxLTrYC2nHtfc4Eihjficzr+lFsxsrAl/oDbB0giqaJlkMHSQU5oxIMZ8pWxluPRMqWdacOPuIWmu4fWWhYtE+hzYFNLt/cK2PZzcNFJT00YX6XAqHbjMYRvxQOAmpD5qXLx5uMLpCPxUQiR36QVFAkGqlH/snBqvecc0Kg61sHdIYqut7DVkPLEGNqYK9GV23MVcyWwD7/evsO9ZevwsT8042TeTic+cuS9tN/ZVf6q5lNxqvIpP9jN0GwVq042h13yXbmXi9CjYnWncGWptmEQWMOE/JxjpZZTf4bO9X7ETnkJx8X288QDmcPrIWozHIme0zzU+Qe0Vv1EcwDnnfDMEK/sBUheBhJnPiFWAiFq+lYQEdNLXOqSHDxEBrRcPDR2VI7DT3nR8uH2DHCDnuL3VFBsKxmbe+eNcoqj7GJVdqNHNGAsVj6NbsrAEbwNjkp4R4V52wkru078TjeUZkfOqvxHg41E/PHzORBicpKpRE5Tv4ATYrBYnfCq97ffK09XL7mXWDy7fvRJvRQYb0JlSnrTrlvDxwcMdiPX+0HC+a5MOFMT4W9jhXLrf4lwmbZQUdutgHpiNbm2qeefddlMzE37jHbAIXLe0C8tSIWsy97soyl1o/sTb+N6HGv8XRzcSVT8e4m7+02F0BLMB26oaCrMulE3YJSMLF0pM88sm+joZ+tEqf+SO7lb/AAlcuE7ZFWCbk09O025a8V08ym7sJJnBkfEM9S/I3fiYXxP2GVxOzl8NerZnmZynOqadJcBKnQlorE9rBlqgGOqThr7wvKPfGGoN53Y3lYTa/QvXb+uZuCH6WOPQOgWO+8p5v8nIrb2GnmndHRD8j6xjoeZe3DjKo5qKZxgd5LDWESaN5RKQ+57gSGXcqXeKi1RCRTBWZLHJbv4yDwTEuyxEsmWOS9/4/+y2VzC0N8/WgR4jutdTY5StHxTmCPAINk/vGWVfKhuAH/oDmgu1GaNcYmemMP8XWpIzMo+mqxf9CIYXeds6jYu4ThLDxIDE6dcTiBAyOW+euh1oyFvpZ04rYiAQPk2wiQFI0S8Xn0GMG4YCmE3YMY8CRBGLSy9Q4Jt/7HuaDGAyUiP0+zZCvzuzEfiQKhmTBmwAmyLQyx9NdDrYeNEJQGONo2VPYIgDxB2bOeypphSkOucJPt37D/F4G8Eq2CwdXC0hVGpWuM8v8RXL7h2bjgeWi+xy5LObyvE1Ti2zzwoIsI4ZbUOMmXjRqpjnyEm39GDjM7TgYmZ1a+Jo4MiemLpXe6ic2PP5KI8IB2IW0ToWrI/pC4bGk6OPShb9/E5aRfhX91vZFYUDWFpwkisvv4JqPJHHgb/4oUYjhs1ps2akI4aH2nD7ld6nSp6Jb+4oOrLdfJx8NA5CEQEvMeksUKne1HQK5HCMEi2sTE7XjVCJ3Xoi9u6ExzNX9veq8KDYtKD6+KuAuYxqwGZFBXLikzRUVBQxavnGCMYsdY92tttwosTj49aV/obWDK3LvdlvO6sM7RFbmeMt1sG3i9duPChXCHfc5piU77m2vD+MqSyMNU5FPM0IZzYbPu3OFYJ6YQUkXq1KN+apn0xA3HU42XQBDN/Ob+qSN5x8mitSS8CCaQllHZdiZBBysdNcoD1yNF8H5VXvU2DD+NMbjVmKBwlc3t34KsQ6p0bB/NQg4oTsyJ8CyknaN1z6mPNt5CMhge8L3lJJ+Bgb7MUNuGjrJ3diYpReP/vz2MkJS1UhSTsXRlHOEDGuIC5H8fRDq8xu4enyJ44qjA5xPiyzQmTIFzXe87+9hVAKUDsDufijQKzCGwJrXbORj/1igeZECxR/64W6ZHZEk8xZnG0yXMeVdjUcKGwrTLg/bNBz4Be6UwdfZBwjbY5o4vergOu1Usez6oD3ysJ4D3vjZbZvuqjIZ0xtHztcPi/gMKotO6mmLQtui/gyAva/HqoAL10cx6FK6a3RsIuLzHm/wN+2/sYTGYW2yNWJ9wsLLQEbJE6SgmjIVIFLX2kWwSmxi80qSqxloN9yyMO5fT5vH5oXaWWpzFiBcKjBD6X7fSSlfFjxzg4xAerpM3+yRvSMTawDRjSmVo/sRc3FI0EqWp/MhizFVgdJIW32BbdNP1fqoiz6QzMWMJmee4Vt2Wpe3ZuCeeuKnRz2oxFhJtTObwkdpH0nkFkjhR5dJo4VHvHLtuEMw3F6OG7wNYLa4L0YepXEoM0paQrBON2b1U+tTYO6OjmeVvhSWp0uvGKZqbQMaLTUHLi2lnWnKjV6+FvXXYISP/aMUVAZYr0d5YsZC75AGQf4bIc7IMeD0FA7zn8pz3L/wSOMUtOlbWydoA4hUXLyCIhf0nvsqDPnLE6/mHUeQyI44I27GFKlRgiOl14RipnzPRYh3i+Xdjv/X13eOyPcTbx9qrFvxxT8GevIMsNyioWTzzfIAK3s5pFmmhF67XtOJIW3gXO/7vNNiappYsxYymxTbyhIq1HMG4vFfpqxasqNIqPnMsC4A5r7AZ/p96mMSN0drmP2ytG7OTjogOoR8WzFeMJFuDBmIT1jF/mKw6kkj9BG3sCaRG0uaCpURR52a+6YjOQY307OGaRsgL/574jBpPvxFg4LwdcGojYFG067i8418LPCQQBDw60SPh4UmZdMAFmviHfY3FRIcTm+LVY/tahtw6htRPPT2qm1q8PfJfK402QgVDDSrHnAmuAKhgySBFSyyKkTkFxB1omSDeN1vcgD6rWVr3qmiTXlRKG9FeAwoek6tEjpBVhX6KRN6zjiLmRaNcivWGvBYgl55KTteCMF+zIy8eD3x7x+j+TpSAuC0tUBA/cCwT0t1/N0gE0d5VbCj62koj1P9y7EQUNv98xWQSjGKuYY3dGC5A/ojfKwUk4zNhrPO/Sp6l0kVhTVND1SHjm3oX8u3MBmPYpUj1ER7Fj2O4MftoJqWKyChk+oUYKPFe69wFlY7YqcqjzZaP7/UVGgGsJvvkfGsoMR/A+wDyLvm+SAOlaHi+om0mDGnXEs8Z9aqhns9XXffTUCG4scaNYWxj3u/tJ2Ddz5H6IoYt7IeOUAAwkg0r2MgROLErB+uQ1JtYQX2jCPhMpzh6m0kkmLhZ3sYPjwHCmpWFuCJohDRs+HGDb0RaPjMfXIzzQBqR4j0o7FOCFk78q9Nv6sjw99m/B9cOj0vgyeSYNr6T6nEXo+zjuRiEWJoY5N6ZLsPyBHaY3b4Y/XQK5UP7kAshjJ+kAKjxAknSW2+c3lbsJN1/ulM2LOWb2XLZIENb54VroCC+FMREJPze9/cZCjZUeTgRJ7auKTrDqm8M0SHKUV0AZ8RwHIBwyuqqs5LDlaUiOJtX6ZXcvaCuMCQ3vrTBqjxtQ9I4ICz+ZssxTCY8zAHKPUR6fiC5PfCkzHveFQJAqlfpSRHpy4+irTAjrSpmya1+1We+oRqoF1KMWdw3wM7XRKVJzqgDPc+sf6W+d54wjGiKpmS/tIHcfWuiOyy5JWDHWCSmftOW2v3Jio5Df+mMsziV5YTOvKw+Rjntuq7xWf+jjez7su3rcG2a2wCtSDasuXymuFV2GN6s35aRrlMkWa1VcDulu8z+vIctU1wzSO2T1WpRwzxKmpDA5bkwkfjX81fD2EY1Z2m4D8Kcz/RAxSv/57vTBANBoqbV0z7Fgo+JDd6zez9Zn3rm+GR5lugIxdLj1UxGpjaxdHr1tPcslQJvUIruO9AWe1Y2/JO12eoGUwxbL9vlGqsTvulTE71iaSq+Agj1mDBGXOcUU9l+OBBykKx6hBcShrjWv4mghjaFAorST4XKbEXb/hUKkXYr37pmcI1gzZ4gNMCiDxwFlgapzK1RYNBF1fjfSV8JBU93GskCTTyN2KNRHfIriXMeysfS0qFfQi5/tPPn3XJHsRaHKnghlbdm4HrMMP5Er4EgnStPEVLwR8pLXyQzVCguMFBVTRBj9YrgFrHSleCq8P+5gxPE5zF+lBZg5Ofr+vfLGi2hP0iN3dy5M6ytjAoxu+lnwcAZPKYlEw3NL5DxL3O0X8XCl0o7VFPSjrFC62XY5UayxHaZIdSySEISHbarP2GePtB4ek5+xdWcWJy0QmHglt8zb5kxW+Id2+1YHuzYhEoE4GuXznL13dkU/SUTS3c6rSCx/zwlJ/wAqTAopPpy+jqnjMhDflV++FgQLQkEbU58lMT/56WfZtS5WuJyhDNu9nTp3ukrrVHNUIANsWwVTl9cJhQS/aIOkAWxkn5Cr4FTyojkdeCsDEbY0Bdia+P5/wdpCXxftXk63SdQVtFxTuVIFT5zKzJ2KUd7VQKn/wowq7YZI7x1qcBapF7Sh45aHDID1lX1lrNFXWR3nRIbMaU4nBZXia7M0prFlP0Uyt7HrrGzti8BPfV7yBizLW4X7/3Qxx2mhNkvXNA/okQNBrE9xVV0v4MWnHJoikdD6XOURLf3WjLOgm5xeYL4UPxaWQSqkxChqOd9u1exhNtduqMHR6RJe01eMd8V1usI/avIiAUUDXi7bmDFrM20IXZcsKq2FHuHdwV+kWfx7HYMI957Bi4jZpxGbT3tErOZL8vf2h72e65uTHQHDsV3T7jDVHjbO+GJuXZy90ZhX65ppqUk2b/QyAyz6JrNgT0b5bv0GNF7C1IDIfArcz37JtK0DjrP7/5dqdY/B1qSX0SHrrSAFiOYc2d+wkz9wxbUFhByC48gAHvZfvWN9byCs7fkJbIk1GaDn31LR+E897Upuun3cuGMDoC3NL/jiVd+vjnnwA+XKOQ7pvaqzwkRTEhYblMhhuYRRYhn+b2yZkeQxk9Ce7PThzy4BVxksYr2hELbA4lZ4/YOOc/R7JXpURvnOCeqit9rxZTtRdlrCm01GLP+A1tWfPiMiBnXka5wJH3hKXIBCfmMHl2sni0jxrMy1gIfzS6V75TcRLXwkm0bisiIGZXxjmDsSJZSpnmXHDNVRsSIqJYsIwWYi1hHxyJIBuoOBo1BX+q7oGwI2gADY0g5eD0c6Xbp82CkOWi8UsW3b0vZrizKkwmPB3yhQ4vKXSiPKDH4301fSZe6Ozrmbn9OcD/RdNFUJ6PxtF+GCtrqtf7wTHL5btp90lv7s2+Bvzdh5ZdGKbdZSEdQ4b83R55hUTcGgKnRv4EasPSThUCrKHdpPeGzUqOnuNa2Fo1dMz1FENnMkQpIbP426nZps8umbdJhgeOr1fBFjQAg3qlWrgnqz73496CAkR2ia0nQJVxnF5lspNbiRU5MmD4Qr2xLkHy3GCQyOCm5W7a2xv2Bw/h2iZfWZ0JGAiA9iKXcheUxywaMoTmDXS14h5kdUvql7FnqTa74U2cbyrl63zSNTQViufEx5AB+81sNQZG85dE7Tet8dhBhG9EosjwsyKoRMfQJjZvHjH/8dfQvzsDq9HGIlscs2gdZG6jmcqx4QGOoPMEVvB071PkQJ+HZSS+L85PcMMCkKLeQ1en9D13F0QdcL0ecin2S4yiwZtLULXWjgf+FV+iwSHZs274XGxmZF2qXXZlVC/DcBUyvAoiJ0ZV5Amhtcf42e47Vh4r6uXHVVc1fqiEeyY+9n6iuH0xUXQUg/Sk/4YtG00hUYdVPmuga39wSroFTmye3od/3TUiE7aD65ky5i+NeayGGWa8MNBMDrcsYGagDQlvFhVfE4Lo0KHfPGEPvIRdL6Y3aqneeVh5nldSmEBAp4tVYXSlDQ0ybPZPrTL2S8sujjmutKDHV9UC+FJM2ErCWvtu3gz20h9vy1HzWgCicBV+isrp476vCNBTRpTx/kOzAvFrSyB0T2gnSzbUPyDmsG5nvyYMqR7KlrgiYNJZnJQHOeET7oL2FBi10ao3OhJ/MFl8PPX9auYV8/Kse+VDobm0AHXXAWMgy08708DRJ/cowHzTQGmhvdc8mbd0Yi7alkLzdFqRzGnnfAuqVScLiSyOchPbfWL+Zeq1R3Gi3FEgbpJ2TAznQ6gkv0wbUSxmv+W6JHY+8acbfpb9a7RB8QMqOQEQAevBvK9m2hqbGhzeLh0+PaNen9uhyQ9k4cP3x41lPVY/Wr38eLgnIavFZ4odfBCAJ1XPISpl3By3ON83chQOtA60uGHerWTELSQnY4pZRhHXNl1ca/YkYSnQ1N20PeVoA9UCm/W+Y7Q1UiDE9lLbXx5AAVlYn4T43Yxt/KlGlVe25BeqQeVTCoJEwDQrCeqlQTp+HfXL2Onwe+sO8rpLPtbVfAAtuk/szLh8VLF+ER6VDX5l0WDHRCdmmvmKDQM8X4IWyAiKDx9OT51UjIpZFbtTTK5IXTTrID0JvjXmtSquyueC7oHIlddGS8D1aLdBXvh8EyRzvNZYw2Z1QJihhOsBH9WU6BPc+jSb26bA0C6HYZHIB7mMYnTihTRVRaR/a2XKOXs4fP0hWe5cQ0OEr3t1sTO0thZF2jsWV1pHh84V/kCgrvqPslhI4caFmqFu5nnXseuDOGXx6UHTiyRociibggvELEo/8nZfSpawgSLBzUnYkLsGv2NQJkz/JXI+6VCGq6MXSLFlqczYe5och2GoDjo5RneZikznxzrrHqWr73HHu8wCBe2gYxIk0jUqDtuQIfTOQCw9jbPOM7xd6t5F8QDhXwY4VkIpynrpCRiw6PvnBl4CHaHjI8j/PGuCM0e+q9qN2WIn9A5EPYHe31MVmJLRs+2tLvljhlfaoBBWQO3fMBMpmvkwBBj2V7aD4na2mJnd+Hh5SERKjTbxg1wpowaJvJFJvE1lnBVWc4mmL2CnsD4ZSx3dPyc2gc/KJAimUU11SmFe/PETyc46f02TVmkYGXnZb26yAT/XkOsxOnaBcWwCdCoLuVPln1XG6LE8YwyLnT/wrgiBDQ8aCXiLFG4gxAPt7r+CP3BnrzvpbHzc4dXK9LJ/N4T633FNpsbWm9Ic3vTfDqCpfAfkyBd61KcgX37zbJ2YbTGenPCIYvfS7Zf74hK7BQ4mJPJEFzIZ4OP8eZm5b47g8CDLTsVFhDu7K5dllcV0KoQyNmDz7bfsW72dYa83pkR1YVJ2HF6RZFxOzMMX0cFI27A9HTjetL2Be5LNa7+TEGnku0AxRJgCmJBoyTvBZBaasZXqDkSns4QHQZEPEc8u7cet7+sCumP4c0S3gktjdqZXpedU8hpcKKbhqdZ7gNwvJMXnIl6+mz6kud0bpYPtSMxd/vBZOybfwpf7A9aib/9EylVWxbUos12oR6oS8VUAvjcbnL5ymjvcBB7XTidYC6iaAtGTPgjmRkeu+P+3q18S7+PqGcsFrF1Ezr1DNuAfU2xTYpCBuIemJfLtGboFP/urhIJri7uLYG86atbx7fUkR6pI4FaglOLNIb8D4fiIzUV9/B7tPCihtGtnmGamYD138YKblyQogG+JF5ozIEGws4lq23yqO97T8XtOayb04h3ExZscRbt6w50je8u+wQ7LEOUGuimhtrhTsxTexCp0FQ9L+9PkY/m02zW7Eh8N6WuOU9QJYRsZdGXeywWdKyQoOHINqmaoH6AF911GtG9AtN1XMYnf8iMZkJ3Hhc/A2Npctc8eT2sfCDMNLTUY2lhLQTzXnxxdsqIgs9vdTjCSURU6oBcrZETKrYkCpdpTmsfOcu+/EhETHRhWnt382WjLYJFqs7igtSlOR27igwNC1mSWBm2MMQQKfy/jGW9o1O46XQveqPdFN45omlULlOuILwM3ktrsAQ5nVaUSsu2S90/wpSHf6PebkR25LJ4qoArp+DnTcHBfBmSopE3OU4adivRZC4nIhOtDZxIsCnETpfNAT/dBC1vDaRsnX4booSOvrOc9Y5b47LwLtH1Tn8v+DQO3ci56SjuPsJDdegH0zePIvMe0nXNToekn/hRBMyFO6fQY7IpOJ1SR2KDjMBAoEokj7NZHHq65z+izk1rUphNF9ZLJgNKzO/x47N9cUhj7ZMOHuIsgYt32QVie59V2dQv76jOWJqXz6eiVXJDGIFdcBi+xUv+lFHajX2GedxEfgIoh8sTFDtEgwc8BkgXKwx12RELMCHuItEj9tiN3nzak20saCaahL6msWNSs92A04PQW4konCbpDZs/y15/Gt6wYdGvtuK0HZjAYTwwlCKjEoZIpP2+qj3oag1mTDgh5k8stsueIGl4d7sMjUztRxJb485RtyZstyLOgHG9UPCLJS5uQq56W7Qos6qwdxZ9kZQgIIH/BndyASzLhnMR5VLZVNiaieS8BSGCSMDTDxz1CXp/ILS21h5Yhq2U8P/2Tll74gkEIlXBRONLasLGLeW7sdhu4suUoS0kCqv76OoMCRBQHyoLcm5GWkBJBuC5+1824qqzNcStohT4Kb2e4M9UvU7cZ1FQSo467n3KfHWev94fhc1G5vNWiFiv8c9gxFpaIY+vGHmkthy/sr+oaPakU1Y1aKjgCoayEtjlPbmMSx6Rt6asUQASkMaK5RCud8OnFcGQIvHTfbSljR4MjnpQnsVx7JllnaGkJ4jw3NHWlGZ9GtjVlEen73tXfiErM95Vzo9jSfzQhnPnd/gYBtqzmrpNLhs3tgTZpi9pAO3tgSf/gHbbimMexFq7FG5enwxyvtbBatsCsDoYTqpH02sPipdzAK6bF+bZT0cRwhWJlQzoCkJDxFj+4azsXXYMtpLNqnU8++/H3sr8/VW5Tqlc0zFmrFsmsZe7KRERxkzbS/ExyRkhDoSb0uwagwpmZLBEfzWIZxNflQJ2Nr0WNeYyW4ZW7Q43/LW+rFeZdFp1Q5fYt/FjGOQ+pT/jONdiQgQKfMDYLd0rtDy5ysb7UBJ/xGSBi5eRhZ2vLSWMjXwq54kur87B6kSFCnvEwhd/C9INUbNY24z4T+CbTG7zva3a01n+kCxmdc6tfy84NHV/U/R8WjlPoRDuhCg/7ywdRcSo373Vd73LkK/37y2tamoMvd7CJLptp67iVyaAuprZnchXCAn1p/LgYbwvXxayP+BLyy8Dfi0jrHJBKC2dWn2vivT1wedfIX+QzysuITtsS4GAYSkNIc01l6tr80Hkt/xDmbM5i+jZ8NgVpI64uWFPf8FY6PUZMSEt8YZY6udlrH8h7VP3Nrv2i8b9s23LbqGU+zGGaRBmFI6edunZhR/pkPd2I+LnFnpy5wAn5Xy/ZVztmomLQrGQcqkKcVhlYrawh+k6bWXkfk+vR05ga9S3Y49WWGQmoij3x6FNf67hiWM+jH2gjnQRDmAPlS8q6xT9ZdYq+gIKwooOTmTg/d+TP2ThnIlbPFVwu7FB1oY9tYm5LzEmTRzPKiUxLGIYZcoZxmJAh35CH+sFFx9Bo/WE/bZJZzDHS+fCLRDTWTr6L8NtikFIRhn8WqwUaz1nBk7kaVn1oMMjGGFKY/1X7oDMkrFOFRvvzFm+09ykLrhbKrdTSMEGDOrn2IWs6Vy64Gn4R66+P2/06QRb3oGwv/mOSAtriIqyxLs4g1P5f6TrcouiKI2beYBEpl8VTLrw8mYjBNtJuodfQzSQcSPqgMxPgIPj6JNT4EPuIaswwTMDEajSahkBfWqg5jVI/AZ/kF/uu6PSJgukYa/RohRkt7VWpfKkHaaRvL2Op6qkG2qgww5N7tXq+Tb7jNpl3nZGQ5zpT5JbO88e1vtlwVoqri1Hl96BRJIMODSSgunHQQm7O8cAVC6uPBQU1Ra61gxTNpD3YzG04IPbrJ1j+NIuoZHjRW/Qt5DwnlsX5MKKa2bLc0OiI0YOp8wumOiGkh1m6NT8/gwktDJ3rDgqegx4EYNQ7pWyde+KZnbNE75Faz2GoyeQR3FPEEsnDAiTcPKh0rycI0ktkRi+8W71IkWcSJhYZGWMT0S4vWpnymgaMsfbkOMbfoTyMtBwl6I2144Dn8AEUJsNErynS6L9fo2hy3/hsSKSZpW0RCIiWl5Pz+nHxZlandm+ykFGpxGMUHiwvaKp0YmzbFWOMbKayADoAJtm7FzpfqSeFnY9oao+XBomFiioB4hA9WBNZt6sTuFGU6hBmURyr+jfFhe3xnIH1fR3DRQJ6vmeP6yuUqj46tGF9hC2vk31kus5bNmCCH4Fq45aj+IWvJkTuMp9welmkZtfy2sRIKmwIwM727Q00dz3ULn314QIzPgg/H1UqAA9scEHp+P1LgpsH7ScHqPm9TQ0Gj0CNdGd/i7mcKimS1mSCE6Xr8OjM0r7j0ZJ6NtMh7Y5sbDKk6808Zoll9xy1d0VzCYnRpic8vlrUqs8piEYlQO/6Cr4R2vDL5SJ/v/c2qJMM+zzXAX6NA+V784Vl6B9iiiqRiE0aHEO6dC1aREItKFvv6alckKVOQFbDAQhAaF3wuBQAgYb/fysC5/A/g6iknCBAnu+/ulQkxpIeNgndyEHj9YqQdq4+2pdiRZnjWI/i7p/vfsro59F6l2AIzAjjw9uqiJXnAD1vcCaEpIOAk9hj9f4x6Yw0edPHJaMf626sShgrQKPijNa025SURGkvSBU1mVI4oSpfZbtsiTeHOIcqVsl7ucxk7XGYNhpHNSm7MWcGlhfW/Ghv4KE5m4EtlTkSbD33cGNaIvnghFJOL3mJf5IqLIm4Y28E7cuaRm8dZ6EkC8usQKxLTrswEklxLp06EymN4xpYg/+5OsMQSY9IA2YQmcoMpewrOmo4Ag2MlW9agTXE2ZbgYajN7Gp4sIrHAXbyfrR5MG6HUviZCIDV0lB6KvpHF82Dl9Cp9yqU/aVRNIVGI3Wf6luHCAnoKCKe9dipVAxfviZpXliCI30YVJYPORCm547qfbLAoHbVaP9iHyouvdG2hBf8SBFlEUNecS5Tq1sLyuV1X87wkEYSj2QdlYRIp0aV8wSkgRZ2R0bdoV3FvVpYG9oSMszYixIWcUteJezokm3M7VoMOEMJWffeNj2cWvlV3T+gQFSXJcjS9h6Oc7UAWggDo2wa8uqvBm6s7y0/3F7xEk1upizq3T8/omtUBiarIoxydNjFAmzANJt7FRovQYzVkNQs9f8wLtd415szoWcrc2Z+0lGg3Zw8wzXhYxCYeGb8n8CspTLIVWUuIjNYOpRDGSK8BfHizMYtQqnQFUGw1A8Yk3DRKc+8sa8BXyW41Qk3LUazNDmD0Nflu0qfTX0Eu9KhdeAu5K/0xos++BSOjy/ufrYE6uTGrtqPFLPBpVzkLdn8rX/QqMsvs4cevbFqq4hvTPOYBKyukHjFE2oRoX4ONFqN/hXlv4PvnvmFAtCCh0mDvCeRj+mshAmzfdq7pP4zBGbKAewYpe1VLm8ikfchvoZNnKDjwgcz97dPHAZZRR1+m3hm4JT7Q98WFG0T+9fcCZF4/w/VOIMqqwOZsWP8kS0Tw/nC7y946t+NnL12gZ1vfzVfHXaQ6azKrnQhitcN8WSds9FNWgIWMSyN0sDzRdWv3+oWC7tM00HCjauREvGfs2YSL5wfNzmxRNq537FblDgNZwhohcs+450VUN+059UgBQPTcWMI+aCjgSS0AiItTLWyEcdJnC3G2VfnMLm911GnIitc7m3x8d5gkFMUeqBjXHiR/PUMxaZxb3YAeDAUVLbFpwzbuvqD9/cRArCQ2WYYg2BjM9liZe3y319hkoXY0UG9wjYi63l8n95AAGejNM2NYLAhZTrQuCvMQ1nViyDUzZHzu36WNGbJm6j7lp+yopP/86H+9zDgkmaYjxVkxfLaQUFUHghuea3qAEMDqqJlChDFI5VXL5yqTY6RAif7Pru1DmJ44lb0ppozArpFjOZY5iBiBSrgyqXe+FBzr780sLgrx0NmSG2mYCqHSQTj0SS6OXR1TMOFQjqpy5WKlkhDN//qPS23gPHEeWjJHmZSX8oJu2vI+pa7JyF9jEGc3ui9ZDQOZLiMKOYJTXpr0gTVGqBWvAKnClp67T3pWCA6pMsVkytAXNLpYD20qfy0xIsogVC1FYkNpjN2KslWNfuiEpGBttaZNIDZy1HJJtXILCncixQdy5eUYlqalY5Q9tLvPEE25pcrKwlMoT/rZ7XYJg2osHb1RDjhaX3gERSPq2BNCfF5OlGKwQuAkSfnQrZL+EXLRCG8lFaZ3HP9iX9kzJ+SYAFSZh5Qdmb7vCVirIvLRHBnC01KRWkH2pT1NjKaRI7NZpuQAYKE2nG1tDriKWt8QUMmAx0YKIALmeFFP0c2tHVGfbY0603XzzeQ3Kpi5HLCVS4ENoEh9WypjUo7DnCyaTpEqwBgaBqK2kubv7c2IkQKmc6FhDCLHImap+VRreZILMPrskdbEzjnl+q/TZBmlnscNXdD6I/KJ0XDfgZJBncp6JYZW35Erx/Uavgm8a1aFrcvLCIOrVDkXRiQA+BvV7OjjZZK11HRdIRnI2YqV8C0TaUCWs+nOCzSHQNezY91YFHCkDuuHVz1ksHA6ber0B5Kaye8dxzEfLqzHUdVQ+eeBUEzXYaDiaPpdua4E3EAZoxOPUVRj2nrzob+SggsLCD/ykT3ba4HsotHDrjUIBZVejbqy+gOHtR+trBaiv8p4oYvH0Pd9p3tAEqYsmQiim5FLxx+F1JuNC8G2xzf2e1/dWFkXcMp+7zM7hnA6pPN1j2FE7KDov3RpvkoQTZAIxEDrOADHxSHYi9SJBQtSKrikoGLj68+B7fXy/7Uxu2k85zCCclqbDfYFFJ9PmHEfK0/2yhCxoiHSAyw6vjJowJer4eOJ4N9OGv6CQKUYztNFjR23wx7sy6WlZogLZH1x7RDTEyzwwFmxD4zxVKDvup3UgxFso6qSBRDwTLhFCXGebQiZdxAIfIEpZ2yHT/rAqW0t4P5JS0BQKKT9XYUmyK7OASDixMqHC9t5hTW8Rs8iSNItMQESgNHiydvNPx01eVXscHAjynSGbchkDSWk3YK2nZzm6suIj3DGC4zQtzzrpjB3NvVcKLu1uUkTfT8u0jb5kkq4dcHs+mxrXHVdiSE4jgDotL/R9tncMhlio+HhwcMeOxg7imjiqLuH+lftp9ZY1+c14VNRnnLf5J9Cab+hNsvojTChVpoAFf2X0u4mcPGlC8C1xODfUWQtRuzPLHjNHEjG4qBRtUgh5wXqJGORc8GBuTk7pvfwVURsZQOuShMlEfYA6vuOSa2X8Mwz59D8UOkPgogKTfCPcGY4gSixwVatnMkoymMo5tW43LV0o9UFSDMnc9IVdrQ8IZGjvoT3JofaXyEU9ksp94PVNLAfXPqMRP69vF0xRy20taL/esrSPYdzHp0aOKewy5SQmsvyBlwh3rjRZ+sm7yiRgsXkfwFsRBJ04I4+Ru4XZoOpWk5hmfb+nMJ6zugmIRNNGUSWh9A2I38mG6AS9qZGMaF/R3Gvui0OqGlBDlyU20Eybscw+ysSyu2iOSCQuQVW+QWtEZSd1pTvSQhjFo07UAvR4+MJM7xPz9OxPerd9FCRhmM8bGTiqVKEpeJwYnYAVO1Ix4GCRcn+sjDi0KKit/7BF1k5rsndOLEs+ic2kQPnGz6qO6NDbU12O767/y+qA6ughy2tVurZYH9HkfhK2FtQN5Rhc/pEmZOT1AhTc6X+xV9KjIe9YUc3RSh++uRqFVx0O3O2uR4pGi5Jp1af9tThLpFp2YctZIYvhTUf+Vo5VxcZ76SqBT7FFEE8Lg3F+2RJ+m9nwsLKInNeeJ2EbG8eURAL8E2Oy2SLbXzp1js4Alyq90n/uYItWd3SaJPFAW0vJPloHzErDjBlbAMhLt4ywmQyMHBv4dXGqVSjFpajdITPkCaai8Ck5CPy0FaIdITRzmKP8PvLYPnDIs20I3o8Dp7pqgkaE0xCyjZigbOBCAkC/BZOmMzBocccnQbYR/m00HWE0ooDS7ntUTCcO9KYwztjHJwiaf+qPczt+ukzOg531A6s6JfO1MqqYJylb7Htz6gNCRszxKZgUn1tCuZmIyPvOT4Ay3dFeGbYmPQVyZRsDDrNnuRzT9AC6AEIQvki15CPDENAPArPzktUJumdcSW4YgeCqQwx5qCzU6CBAxDoEsb6uB3Elz4nEQ4a6aVnevju34nTIptQh4Q0T+GQCtZT9h4rmMwT4H29MQugY6xAHUXOJeLBN8LutX0ufGHqJUVbxl0YRK6Gmos+Y7m823azbIB8vsw1DCqB5aZp/2IFyeD+8uU2L2cd6ZCbA1IdJfjpTNWW023ufwSfoGXKGzX6eyw+5e9BodR9VlZjMV1UlAog7p22RvH9HlP0DfqzhbuiMolzeFZSbEe8LGwUpGJnVjmKaRgmPopoTpCIDw0B69HkDaKJbv59I+hQv2jNo7EG+mQh4YhbwgtXPsfXrZdC9N/OVQcCxbR8P6dVWCp/KaTZ3D3EP0v5bZEsgk/8JNiqcTyJS25yJx4ZjSn9d4swVWm7htJ1IQoSBcxubXEkIO3l4FcGx2GS/AtCCHVxUAGrUELmZhNQUaPO3Xmcksr6xV3RweBqJMICtVznMmXh7Pda7bqZ1vru7koPTH8oM00AdICYZ2y015K9pyTJfAlxbJxWsMN3uPh69iKlnRptXE6XDu7+DiLGQnAEEFtD2IfpblVGmWf4iuTlWZAFsWrGDjx0zdFVVS+FrUG1R2tYD4mFnjF/z6HLBaNQhsjeqkpDaycpZQcRIA4fLbGxf0uGxvqgg=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VzkBhDvReZqbGLfQB3CLcY1XkBZT4Qc7Boa3AGle898Ady+BaGGoic5rFHKvIqkRkwyMdw1jDyiWItLWuuSdJ5LZdpGNhbq2RDTIBgPB1UskYUIfuGyLuOmqpE8ADVBfMmVyG2wRujKkO/McQ+4ZfybG9tmN1OYIupoy/5stprABgOHbAuQNCG/WzUTr5c236M15D9i0MJcc5lNu164LX6XKvDmgpEbn0ZBlmLtLrC2jdQdpOSYMLo5sqA4h9I26BOedR2BtruMsGmdPhXojMCmvOEPqZ1i6X1fOCGG7s4mHE57xbLlm1XrML1SjFne7DASdNxOjbajbRrM7sHIM9qbP5KPezSyZdxX4fcjKnlvo3W7uiZ4s/83tZtBCGL8ZyNhee0I0UCD5vFbyLDbyB6FegKbLRZYD898qpaf7d1zHQsivvIunouAC51F4CNMG/9e5Ma0eebrEGpuot+fJke+J0MhimIRKMEH2dpewGiBhYDY0djfKGboAhSG4Eix+gE3ShzO0+SKQfBcL0pyP9dtGgcJa2H6CanIsI8ejW7L4BFKUYVkMvnvEm4rWiEDEC0swEI4mAfJXZ0TQl/46y6jCJ1QPV/e4ZdjbtTmSUngRLXblXRWv6EWMbGHO92TPvESzdsU4nonDDLJSgL8r/4W8QWkMDpxJ8l9iXiRul1NLm4IuZI0OFU3nh3WNDN9XKL+cMAjrwDbPDswCCKuBTC47lyupSLKvd2MNJ1869o6FKmWlOk4njJo55yEA8rmQS0lPV+2alF9N8+wftDdJs1BQ9EQ0avRArNv9spqgl7V4XJ34y9fRw5ydGwsMBXLQyjoUhWKRz5KjSQ3yPeFdAd61JXF+tRNXFj8sPVDjeIkIpDl8RMR4KMJBE3RRrxltkyloTUvIiy9n0ip/VNAhtX1NZ1OQWYItcezQgw8eMTz1M964zetdqwQWy8YwjHBuR3CYmJiUxQWBAEpxFMDJ7Bl0gQ7uf7IqBoKKG3FnWQRfB/Ui4FOZ3MRuWMk1lUrKfedfEqIzuCEYB9iXxaMl4awum08+s6lC0UW36LdyQIdhH6FWNIObjoHUGd+sGowbCNhlUrfih7sxX2AS3b+lIvuSmxYP/dB6irUilbxKkwvOxU2T5FMI5AUOGb+l4dzpAr8CvEBslvdk5ubCd/X8uH8F1zjsXlFDIJQiQrS+5196QcspiASRKowjcEkffjCn6nhKct+H1RscCDt2rZg7MRxkJj3gwx93eyPMwH6tSsKlI2W+JMfTzodUgVgzs8h0hQ6yYMyOTAD7s73GPsbfBY6o2yFHcR3HY/5hHM9fbyBmbGhK6TouLtIx8ypQwbhqTs+uANRETYOKwmE4TrdFAzpqU2/6Q6fmz/f6PtZ9ijcziYX02f/2c4t0U7ml+iwd0NlSZ0w6PIBKW6GwYynPnE5FJxwuSaeCsjwH+piSJy+Aw8hfgNSFd6LCWxFmXeNDRuPsko+i4xnYvsxx8vIojvDtp/Fld2DgGMl9hFBtg0TU9wJZwtQIA9cTkksQKS/iZ5z8PRFM+w69rtHyx2k4rSmY2ktDyTl026nq+tJFiUIQXBtjn83w8unB+vimAf/5Zl0oukvI3hoMZbWa0Q+yD48Qujnl75HXneiREtb1ZWoPAtBhF6xhT6NILnZgCy5ihnAujnZeaxaAM6UFisawof7EVyGET24RMgp/VUoB7Nvdhy/GKyu1lwIVE/GTQFSZpJgKD9yQf1uIyJ70MWnUYJlFnM6VrwuobceyaqQbLxjkko9OS0zCZQO22C4foQbFCB1/dv/P8Gsk1TEiaBFT/YW1/gqg/MNHhqf0vqOP7knmB7U51tiXabPo4xq4w0r+zzq/3iwjoN/DC8DEf7r8I6kenZY2eXoVOG4luaJu5zsNz3TnW/jFZ16jWWE8rP0/F4jwmk87NfknPE0wn6U3dAb4LI0h0p+j5morgx0Ss4GEdcAGNOen7+zZXxSHHuK0TvCWPAF0k+ZfXeZKHOmAa5wAt9AspkcOCfbBzzQdKIQ27ZzbXbo2y53j3k+sp2IpZuDceRXBHUTBIj7rrnW7YM9kDNeUO5EPcent1gZIBz5HIYuxRM3+eDq4fQG+L8eetHPibla9PvLmOPc3NSg59NGjAN681MD9kCOyAFf0jYtuo7MPa4qbHetNEkNtWtJpHWLVqreAtL+TIrLhhMgHOC6RTxlBH7yU+LL6NykGXnrOMnaWvOEWE5/7D5mBD/rL4Ue0gfIqd2SE8fGBgeigzOuLmVl0nGS8KBgc3vnUcCfCkZ+RHVzhGAodk/U1Rt805/hiE23o7C4QTbW6zyDooTOFrno2zfP3cO9ChZ0HbmLEpzCvro7yT1gROC9nV4oT/+HVIyeOvAgpDzypYP2t/l/0MMoJDwn8hyrVRNqprnGOt5Zd9rMGwkRLU2Zs+5I3bmi/1/kzM3KtnTyXp55NmZPebzC/EDio5sXTsROD7rbjSV8lBepEqfxU8H0i14v6afF4B+d6a0ZUTle22gGpeImivq2pOCrnMb+zk1MlQSHlePSPS0qytr6c03ZuIxMlXgGbt/4JPBp9oUnfeOKXgctgxlLTr/wjg/LwhoJdixIkvp3h6UB9J8kJORQENYnGqzJtZUwYGvO4zVuZNtBJVYFB8UtqKSnu3mFgt/EhsnuuhHeSKPCjfOQQedjPz/V+9j3Rl2SNVfcHQfB2HwMYod5cYUlc4Ub72Vp5IFmtP9Di8iskBItvFdup2oeyUhFDI97Fdcr7voJo8PHtV41gggRLtG73478C1xNDCxHAl+9IcCbmb1c1FJvUTDekgwYmYbGrfODpHOQN95USc82/8ELttgRKwiz17WlvmwA1uApuhRen4HTRKBxkN1qLwHVXJlQwrJ/CkRHxZb2fOE4DHtaWnws8dTb3lU5uuUX83mU8SdrY6kWgU+ABTVaIRqV25Kzq8DbhnF0XzTUJQju6BOMq1G3b7x+PFdqVK+alvPbB5hkPX70jmrFvPEnvBO/G+SOyXvfIcjxPLxHWcXb2fiD2nnHncd+EPALsbuflJG/Fg4Zxod2CoF+aC0zIh1d8is2G+/CHaLpIQbvp0qNscNOvj/MFK7Jkc37FeChjMSA0/Kn3eTwNKpvlQ0W9cQvdSLt3iC3ocIeGWU1q22F4sHnvo6silXTpDQyPgPwF8Ej30IdGc0rItOsD+DeI0/diR8Rcy/i+iRxmZI0xyD+AcqT8gj6JaqilnvUZE2lz75pk4jydpHOKpjdK1/uuM4BEJZ+UFvIldVHzf9uyh7VcJJIhUzDxFiyrzL04jEgquanBB/CSLuhf7gyrZrOkmeqBHIxZwhas/ikcxu6/vSOeF1VR+WajSO0I/ioTNHitaxSYAtzAp6ZaCpURfnwyxEr7OiAHmAiwlGbXAnaxLk7u02H/vllHxnzYBM0xTydKdkzhQA3PooQEEvA1xnxNV4jCZ4xhnAIdvl1XNYywRfCcVBS5yZ9l2SCcsNoipi7qxcQWAiwh20ClH0bmo2qWpnUSM6tvu5tTb6PMXnX+/aoN/FChJ/c2lMEEqL1IkDS/DMkt29rVicAJ8kPbQi/ban+MaTRkO/7nyYE7dS2RpNFd5/hOKym5gW3NNLvltidOLNhqrrvH4STlChBlar1zvY5aMguN6vmzLclPJcbyYxB59Rxczavv5VnhDy2Uinb9gfHL8mpgSmsem98XvnK0H/YMBVxHlx868kDGmSM9cO9hjThVYsBasOi1XecJTXpnwnEgBsexq/AKwwnEgNHPn0l31wjIJQjMJFIJ7sv59cXz0IS5ZEF5z16e0AZdYEMjOlvPNl3ZvFhkzKDNzlKspCoP8HnxfJZ6Qb3mLAAeqawiz67UmtZtmBEokHehOljzmNZMrfKmQ6ewV69qrefrd6tydIA36b19h8jp273oIetkkYMEQEalYdXbIYrSVmnD8AYnBzuFZy0TB3Mb6g1BBKuZ/NQ3VGGFX9+H2pEtiC+KNNylJhkQmdT+deic65o/SIFp1N46a8Bl9OEu3Aq3rL3Z35J0CAuB092ytB1JkNSf/i2/qRFxmOKCq+04K4WW8sLiscdn8SBYvhEPeeiRfJCBuG39g+BykY4FLRCB65rtfLdfBY99DoOWQsonujoBqeHNozdPBbjW4bq4lICTjFyYEiSXPiW3rZBvLjvE42dak9yyGMjdVJNTHjZmfmDk0sbEZ5mSN6wquAo0GbG+TeYIXJRDsuqwd04hnq3vuUC4cpGGTy1i6bz8eWIeudaE8Gf2lPoYFJxxGMeSEEELamUtbYQlqgrSAg/h1jkeK35Haf0kyVskN2VwQr1AvmxUBg63bmxg1C44iF4FGDEzfMxc1QbemSt/Hek+/MB4M8f8+5h8jxQRuKf2tKebUolDvVe/wtjBfhKPCGgTNIxJT6UWQ0TIZ/HSS9yOE5AK5Z40i28AXPOz8fy3CSdV/Xz2nyI3EehT0IWZ8YlYPEGfhlii1Jmc7MfaG2cVOfCsuOOFDCyYr4ryvzr13KirKo5Lsrpu0x/mvkgmRRQv0KTL8U0KZBRsCl3GH096pxNTlhga33GDuCzGsVTNpx2tqO9GKbC6oRPU4IsdVxXkCvNIOWT0htigGDfARDw9xFDWk9snIJ4lh9x+ZOkdbrKPtAHKXbRjXSieo3oge32Wn/Rm1RudEezsMG+6OcKbTsyj7ZngILs4pO9dXun80juZ4F54dkNAtfc3vLpstZ6ypSU9QE6x3QO9V3v/YcW5ckCYfaKBYMqQcQiINZrf2V3cLDEJ23hnaG9R41pSK3ZRQ8v00eNWkg2rYrbk9D6XpiKQqqamrCY9Gj47FdFCuYGXsUYA9F6q0FJmT67bYn6sEefSkaEHFdcmNKJgFX0E12hQX+oG+ggvGYAkLNu8ovJP7nEKVFJ4BXYXEJ6KiPOHp2wQUv3/CqOSMXDksDCJ4ISNDFH8v3CeRmo9oNnxzfCFoEF7rskxeK6oBBZJuTVm8Qy43zVnVQl/makMN2JUHt9mli6+jG2ESc2f3xRoUwOTUA3xClSSGbP/IV437n+i+GYr02l0OuFvjs+kDaf+NguOfUUlwa4FAGmwNW+D+b5Zzl6S9BIHKuUXzLX71qKWYMQi5wUns0/Grocjo0q6+5UVDPRrn+Ood1hDb5pylSjAuogsQIcp9KPvpWeFmCYIhQXrlfZ6kJFAls1VIzIEw625t7U6NGE5ElcuwljndrtljvYlsdQU4OL8HjlXakdeKCpNWIjVKY8DdSGBE1WoIcOo+rAq6d7RL3ggCv9Jf2Ywwicjq2qG6utWsK8gU/vvrYBh0Z5guDP7gbe0y+23d85SH68ybhEcUmdddsjzZtMInPL0h0Z+TuufU7xgGoIa08jmwQqOOSm9zZX2QMG5RUMJgGZ8k+XaqWWVt7zsALgn6eOt/+uGcMA++QvJg2t3/YzIboYolQqlD66b48EobjzDBRuzcz35xA20fnZtJ2C3q7aHOyliFv9l4594zNUSPmPJohpo5O5VlRzqiK3eAqDLDQSxFuYF1x5ENUEr+0L9ACK7NHE7iHPKPmJQjksyyAOW83hHKwnotwQqYObMlkxsNQ/iNa8f9y0SksOk8j3pGPi4Ya55q3AE9lvBFwjdajfZy6GpqArcVcpEFai5ytDPbY4gA3DUavf8UXBhfOwC22VZDmBI/SWLPQec93SGyeaaK/zoIwCdnvHLmEj9USiedIHx0tUZ0z+51dvwTCn1/ELZ4T5dKkH/oXuuzoUOwQczVaLBmj7wrHTIPKspmFCMdUK5RgqG55WoU2cXs9U0MDz5qX2dSYG76NGPfv1691fQvMq/Xe2mMO5z7mVXnLGixli2ZfqezU5OR+PPeUKd1u0zZkRwUbHKQ24jwp8aQtN6moJVN2vE9RQgqPQHTTDHnfr/oYxsjfH3cdc7MErDiNCe6Pvd1Al+Lwr/sfXR51n20Lvb0GhtiRT1JDXIsWcxdnxygaQjDbZihqC4Kz+/GfaHG0t3Swta6VLAM1whcZqO1Rh0EcbQGnHBDlnF21zmJCTQCO81U1hya45S9kiF2qS/02rai8LdMHtJf3pK8IQZsrVZ5a7QvkkjkQetTh5AHdSdOdvzmKCk+hq4J57nqYtlAOkdSdH4EcTR7XD+gplzToHG6BMj9NjyIFdpWuQmuOhfP3qpSc7QFli/GW0nxTHml7TdJQxnqBT6plNcelLbqQozIi5G+oLNta3mtDU+WsG4IyDjYf927Qe1HRwGtnmNY32SoiWPPcL6rxfzAoqaVy6AZs+krov9UXAmPZtoq6VgJAkh0JQKucQ4Y5rnjgMhZHQSN7SbIOH3xjVr+H3qamlbFUYV7J2lDffvZ7x4Oh31Xv0D5Pt1zDZu87qPs5UmSJc/huNRV4qpQ3hnZi2f7CtJmcapQ89QjZEfLDWMFwEsKV1Kc6CdXHNJv/3YAcwQ0wUoqeI9Zpl2nxZT9/Pc5wkjPd8YmWoZmg+qXyi78kFg09XbLVSbWzwdHaB7z/oepkVaNjPXfYU7Xr1SwfyQoqxC9QDU17edoSk/MljHM2+6ThUpxmYqDy5nbeGEhKk4LoWikQ88LwGPwVeaeu7E07fii0yoZEtLSPHr/EIegk6kbFhwnyMa19UXktktJl5wrZ3+8A2RSLAWs1XPg60W3K940+yyppY9oeBbyg81Cu3H7duvXzCl254qaqt/B+MQDm/8rEaNBq1GAQj2dJAJYYVvSmbwp63IFUYbUg1O90j+IMgcEK2gm2++54JVTkU/8jxnLRf4GGF2OOaE9pa44yyzcz4N0AMx6oZ+5eXmkndXa5kQaO0BpniOQDvw4Phu7WZmxOYB1Eywxp7Omyr8PP51pU7xZN23M5VjUdc3KaSS25rqsy3sSnIBXMKmEiNIpfS8mAdciyPB/ZHDMpVtfIkIl4JAOioYR7N6S99ksb2SvWfs+tceKCUojzYUsueTv4qvaiuL5JrYMx4IH7rVyExRC8oIRqdFvB0Dd0fyt0ZeI7i/MQgXBlycaihF6/J+ieTJZr4k0ZBZtft8O7ilK9ZSkbiJwPUpvm5gPxd+MNix0MVi7EmQBBnh9VPygH9XOPGl9kPEU0yYvgOdQd5DRIyf0GGbp3nv9QQiUzoRpUfw1XvanWEfypAq0WKelUGfcfhWRydTIsTMVuzzFB6pY9fQpnaFHA5ByNs/hIW2V1jBN1mExvJp/GlVmFk896YrGoqCjGmgrWsOxqcGYa0wNRGItb4Ar10I93iIwtT9vs5rDx5qy66hpfMsC3y0jJ+Esm4JLUWyMIK5UJqCc7aO1Rce5181erMseEsyOvmKzyX//+ew8t4rZcz5zMWudFqBOKkGNrtzJj/DU0dZ4Ayu3atns1Hj31fL7qrbuA7VfkiXy4CFgZoHqF4TBFhIOr/NL5cEKQGYl4e92FHQBZvrMQc2E64MYdIdgKUdwzbYabxaGulQoVcnqMn6RaDsnyI1lJQKbvziYxoiAMJ0p5Xsmsr4+EOS2y8HVkgef4MxzKmosbPZix0CownePbdqj6+2veNcdWYC7vi4Vm18DdeQjVVrNGVP3TM+lyrmlQ+Comkn3yiZhw8/NLROm/uHPhKlfaIje8cdhaEa8qDi4XJbTGlbH/sjrIW2+UECubHGiyh12WjsbNMJm6qyb7LS3bZkAnex6el82T+2biRoUhEbFGsERedMf2zSHV5ZmXIABgyyw19PllmFtA7IFTVgA6wzc1cfpPkIkP88kFCHpEu+dgKSrHSgQOgUYtwlMfNjRfx8E6RsnmKXpjalvpA0JwAV53HwKJec1Egelw2hxJ0uGVvna8AArc1tRHbLbvDdrVjCGRGq1d9r/CIaNHnJcTz5yy+waPYPsERYN018p6Ik6wWABDMeOLwfPx75FhfOY4mOLLcUA9BNbTq+Lb4xrOyBACITHuVfL0I4iEZfcL7yjXJq9YVOvizCVLQ52bjnLxqGRpQ9zzUDFlkKKYzV7213REAMzybZb8jO6Cnw5K+/909imybZVpb2mIlYlgLOgrS8Vxlt7ec0tZMLOjmQ7qC3FUmrp+U6b6h5b3iU4NyMbeGs1CPXxRtM0FOoiCz6klPMilqoxy993Q0QYOOzWb3HMm4T4kWW0T/JZwaVl2VXGTouBljvMPEgVzvu5V9r+BuXLq8wF+vJmE5128fOJHUIWFaUYpZBhrZihpmQZkefQORtr6Wp76tlK9jxgASUE13hJIlFwfflSTBuuurnnigzcXV3K2TqJzJQJ5lq4DduwjXycm5nqpPYBct/DbZUVMrjDw2Zpr8tXL+1cvicUrq+FgcE8seQIT1Haiav3qmWeAqcyTMo28qB6pL9J/MeIUUd9xp9Bq/VaK2xfCzHL1N1IyKRSjUrGaKQEZufaaWrqBRrjjf7lKv+vtoC2Dxam8aIAVdSD6kZJUTsejvnSlrm3bY/d/Ipf2TWpyuo6ZoJs/ozt9hlfguLZ4zt24AjdTxFgOFU/9PAQbEQ6VpNN8lWpabzAu2XOUlSw9Dn8+uaoUzcVbRt15AZvEojb+wM+JoL5Zxmsh13VN9tHcUv4QjHhBSS+ztPKwIxvSzK8ep3wqUVhy757JQFD97fgluIOv0QeoZ7h5DNODHMRZk147Ic1VJg9xtogch64VYMOG5URuoA7XgMhw5FwA9JzmAdGpnsVY8n05/63SbJAJ/U8d+F6C2cbK4kfk5XfCXXSwKz4sE6lvJtoJZDYwjwm3AN5Eu+BRt7mM5hQUnFke2PNoyG3/Mq1whOT9EZgXnbgKIC9FIbXvNuB0iHitXovwEjDsOvENgOI5MvC5ByMnRdD+NJJYJI7uYx4S8L+/T1HfqSjSUzP2qGxkf/A+8Wr/Tfbq0C6lSSEwRKSnNmKm354Bg+k1f6kf2CEjEKGxZh+5m65hRJ1lPFPAXtmG2kHUz94eOb5uV/vnegWKjYQY95c2LWLqzZY3VnEVciza6/sIHhGXugPFi63YfzSYdFQGG/8kWN4sQKB5n8OxI9F4VaiAGeZkTTviOh8hrsXlIbXkK3u4/kpFr0NAy3HteLfB3dJEqnicif1L15GVbwTiq+QddONVYJvWO5MGqB2+xE6IOGgCR+vriUssk897I9uGY0FyfeLfuE14e07V9y3DSQW4HXZLKo9TWoqyTCdLWSG5l7AqIej44KofAsp//aRapUjK814Vlr+AJENPNllEjaZc9RPVs3Ct+YQC+JLD5wVsEHmt0kVGQGCo2lMCIyOYq1yyXvF1m/eH049FUbv2W5quA25DUK1UhTADyh75DMwQQnNlnOUSdBipOKgbIGzSaqa1d7IQrBBgA2mRdeKPKTyByTEfQTA3942lttDZJOopAliuOrGxUCTgU4RlARkb52NFsL1oJQE6kXQ+3UJFnO1sfI0YXyUaQM5LGSphVrGHy/wU3Ml4cBF4KxV9/4kYqCZmV4HqmBwVA5WdrZXrc4RAg47pLeNVG6niRSlZ1/Dny0K+LBViZvmI6HG8OX6/XtbF8iw3V6e7zGlrcyF/DBBBQiSTpY+Zgjc2lpXNodQq8x5fTqT9uwmhKn6v2vyxv8aSqZv3LejhfKXUcXF+9qji3OT+6wJ2DOK/e2hmwOW2VWBzD/dVsRRUi12/sAQ6HQKjXSplu7PIjcePokybYjfISxyPXP0vJ8zIEWVPHB5VzqbWkoGp6HZSbxxTR1azaHUnsxmDpC9O503L+zTf8QOaXFJy2Gpk+CmgqCKMuDO72KXm35oDDJOKLsCAdIeuDAAOpdlEey6D5ube0SF5aDKrTzE6nmg4GU4SdtkmxvkaTeiGKZ+eaGgJC+q5uW6OKeNQa//QQqGS/2Ek85ae2riA0yWfm/xCbM5gTGsKq9gKoHz7y4mgg+sJ2jiYRGjeVrT0qehes7zJK5G/Fxwz76qWhIDLD9WJJONGKKE4wOkL4r/4ZTaQFyJatBIjU6yhzCRk+JGlKmF8tiQxMhn3PWFx82xSaP1ROfe4zNncV3kls69A5xP7DhrEnSDxE0vw8b5JwrRdDdE4Fy6JstbZ3p0JuNtMOnsh6eviLr4vZeBeQ0D57fvZIfvcNkjuA4FLcfM3KXrVRUQXMpIQ1J8qRagIifN6OliO2ALQry93fNKcx1UBxQCLuqXiAovog//b9ohduyvI+4JRT+psiwXo8ZEllOzzEhLJbNtXdWeiWNa3wJtozZXqWuAqh2TPSI41TQZZQWSrz9Ub5G53l26oqO6ol7f3mrjbfwlCeAGqCxTgbHUCt78gxgDRC27clEt4z7Gb31H+042/+RbfFUA3BIAZhyDUGIag9rPO6vlCOCfiyvdIxhOpYiktudjGxY4in1M9qNN+UVnUSH4UAzbQfhe+HJkiNiaqeup7t1XthHM9f841BfV/GI/+/LQklndoAtAXl24euRIO2CpgbYks0So1ytHAO38D/lWFULl4x0N9b2FIn9DlpUyjRg38q9GzNcsYlHd5cT6WQLPAMFQZlg//dP0gCmQTQKlYf94Cj+78+BHYNSJmumM0msPvKy8OT6HaOcDLHKtQwbWIVZAXTuAfO2/wrICliq4azEFlGQt4IFy2dv5C5+d9o0r5nGLwIdhBVbo7uU+Eqz3voZywZO7uvmWrho34iRS+wOLeZ3OCtUhnt6MaZgMpgmWwX9F3HEyyP/ASLtLlWH3542HMhISozwEOldBYTfmC3wuV5bW1u6g7hjFFdH/4Kk5F9njYTYS8y3UuaEMDQhW/fLGSJb8Sb1He5q4ELBOy3qT7Yr366ikFHXfpgNG2WeBfHAJrGstQhwlfEc7zTSWmhq/l3uHU+Gpol1d4uaXuwXgunCq4FeW4dMbM9vDuiJxutOYxsNopYcSwsg037leJvQXhDeSkbZNKo6gUf6iOc2UTVTnIo5EnLlc0pmDhvCH/JYN8HEzKDymu/kTkg4dFkQflkm9TIn8us7dlvzYqafCe3ARQaD8JpMouig7D2mqSkKxp4T+huAUPI5LZwVroqqs2rn5pAR1c7En3tfc8S6v1whIJ2YS68W0O/PJdmhpS9005mY+1vM7HG4zPFvW3dJ3wdD+WfmaPtq+6JP0tYwJsMkb5e8Fd3M5g8nzxa7a2skjqUrR8cElcfybGZEfZ5wPlDMx+wSH36oOTCwJ0kg/iWSDGFT/eX7Zv71uNbK7Ps+eOYBaHqnyITpH3M6eG/9Oj2DKIedlN8wlZ9lyKtYkPDqyN2BLNywpiB+aF0B9QzaC93fIa+7/x7xY0CnVQ+Fg2kbFcQ+bVnkYn3UxdXixdpt8HFyNkjgPiLcYzE1CsVGMstfhZW9yuX0UUBpBm34aBM1OLUnrme459Voof2Fbb8W3nkS9+uNdHCPaoNtgBUCk9zt06O8PB7PSkzxN6MEzuQkO3s6uu8ZXKBWBI4tlpTTY1Gcq1qE/FtjAhPbUQ5xtumBk4aWp301E/Hmi/wvv9U4+vUr/dA0f5NxbYfH3w2ZqWOdvJkLgY2UiRSqjOlHjI3+ctDlGH7G+7p/Xga37tlCwFm+9aPANhNXH8Vt6btuEqmSaPNC7SuQRLQyG1ES+eVIRjMOaAuOS0MPuDIBjeEZE8IV10AMSv4KsHrUCSjCMwVo9QWUZ1JAqCb5Nx4sNz+Xty1LwzR7+qwI9IzQn8TtEz82jwcViwvSLnv5qN8kKf6QaBm61qCJkQ1jOivnoR6N8Rr5ad4n9G17oEpq5vtJgy/IE539Ri9IcS7nsGq3zl5lxgEjaL2kUe/Hm1ZAa8blnBgPZH6dfpNzAn9Njw/BOtLE2QtuYvauXaVJuNzlkhh8xruCve0goHQk6pu2+62p4HJTjbi9Bxc2zKRIeF9TTlzzV5BG0/JuREI/DezWMidNm4LN7kX1q94Poj7I4EG/jfLNiN6tLIrqEcQd8QUJmmhZaH8PhkFUN2KL+voq3aQMVlLP0S1lARRXlaxpVZcjicg0ahsaBHbyDauyQDR4w4jJdD+bKgPt8qUw8RIihQy7M7DUL+ltwkA7sItYTUN2MvGQticHVDckNOHd9EH26PeCDBalrdYk1sEwWkfIrgK4Lw+6bhACPTuITu9GUX0xMbgwJB01siJQS/Qgdlrxx5tCIsM33CuxWJkyLbLtM9BCjjxZcRvKhr+PdRIMNxzM2SGQZB1dZIzfMgej/ej8tYil/hrxYQ1JI52eNYDnsEpNMJl0aORMFl6gua0RXLxtup+NNi+nH8wl5iKax3YwFyay7CaXRgypLKPbBIxY7SgwagWRK2HugNO+ZPTjskKORuKq4n3PRTv6JuBNpE9tjdOC4RACibf2VGWXx0foLDtY/qZdYsROsSbAiZhLeZhr+qhOqGSKDDK7dxQxj82Q9O8vwobRE+cD6+P/EiWRSXT2+CKIIrUnxr3hd/i22B7cx7HTmarrARHWNOgHXUPvH8e8Ck+Uu5H78sRcFKfUf1hgsRhkbSADK4t7o+MPDCo1DcSGdhHgR7NviC1cPftroC6ashqUORjJ3xFWa5tAfKjNVGpTbukFsnjwuoceJfz/j6b+kXMwUPQodpNmRgksFmtfxo5NAzmTC32s/UUzNKM1aBWl7Pyzc4smFrg6sN9rO+sCO2Mym3P24MURu0a7RvCVLCS0wjWvIv50oczDqVwXziZscSxA9U0ZnPRTrvbdiHVysAG7spD5nqAb2PLicJffCdp+OB2pmNRmSrG3v3RY+KhBaocYsoBlZAj45aeJK32c0ZTxXyEqqumftiwQiqNu3ZT/WfxdXGYjiaDFToo2kst+0Zsu2aQ+hJ0n8EQ9WH+BZlipNAuOnOTgtnAjW4cET+fnipuFr75rcRbRccwX4XxSpO7hODDyyUusgV5FdsYysqsBeJgMU5etGs8/G240NPI7CRlDx4x+RLKCOw6AIw1GAMGM4aVqDkti4+B314+hMcNoBnB4YU53bH4NgOcCy+C20gVwk+YIWJfCeZMkJr0tayGJuKwyBxK5ufRgbqLhjEzJMIkmPj3eYnVlxRy0UTIqP1tnXHEDn/6nemZ2uOWaWCMvwWVh2YZxP/9rhNNWt6FcJ4UX1w2kj++6ndcqDHEObEwGhOAc07YzijXVS6g7CURkjiH6ku5wSiVJk68rFjGjZ8EGjYf4pYB4dcixRxw34/ziGFUhBy/bcv2lY9Jinv0AQjpWgRVI5Rev6rk4DPPVPSbVnvJzmw6BZOPClGBzsqeE/+3/VWD2Wpm6Fux6lOdv9YRrvkOenEKd9ZhPMgwNh9ovMImSxz9UaeUPjuAdET6nDpfivCBMyMPYClCyeOpHp/RKY/13d33lRB6pYt2HpIuuNNJb6r3z3txh9B/G49xCNJOz3Zy7J0XNhf5mGR+2R2lGsqFC4VB4dZGEcl1aXPe/OtBcMxpmVy4P/G9d2PUi7Op87eydQQqdVZvS504yFerfbQ9dAcarcyvtv5F+qrjTC+H8qROHgYRQODDaw5/ABA/pt6nm6vdnpSiqJwQ3v6AJD/VoIxW3h/Ni8Qh1AjmCH3Hn8y/ViCuiqNczCVvzIqwh3ovooPL4SeLxcFsivDuUv2bAL9CwNgYvNbJCPy3BjFeXrHwtINa3MEVfoGY2N2eFbggdLKoiwQtD+OI0CncNgfHDZn4vwAkyRUpSrIcBmX9Tf/RAgM2dWLISd7mxZs/dFRhHIvPpYMv8zWOfus/N/trff2UkghQxITH6Maa8GpBuyUvGxQphvK6e5QNjSfpPIu8Ni47ZpfkJWemaC5FsNISYKNCrPftFnOVrBAYb+77TXdG6TvLBJzOlI1h+z4F11kM1OsWu1uKxB6a+dEbGyDQMxC/+u6HmDw67RUxfSKLDvrOXimsuI6sjd0ZcKKVvX33g0uHj2NdYRGXTehgOUG45LsvmmtbM5lfcatwWqodAzfEs2M9hy7B1cPJ8+FU7zQVnVxjWSzfMR7Cd7YD9mN4ldTh9XS0wwYstujFNg69aXp64OLXrkfKvfRni6FdaxtyaZ5LWhrIrCqqLS5HNLO2BdzfxyMy+r2NXLnHtBvaVQWjJMjVROdphW0ndYENncoyWir+bdcEuLyYSlhxHKRmCFn8km1XuSCIR3hin1/fCjS2hGZnbCsQ8qa7sm/H0kHW4kymN39JPPa/89AKQYgILdAqm3c/R0ha/4KoQwgeYH38EZ82zUQfSIRut3IFZaNgTWqujoDLWGiDGEAfsU/clrVPoSjN6vl5lvwJSuQ4Q4TBo5LtA4rVHAxqcFKSJDOSqoY13HR9Qn+vwUX+OeD9/950cq1qg1avMZOSsb3KwDrChbyxQEktQB0vR0rFD8YBUrP1NBacgbLaLznNoEklCcCa1f4xJK9xnPqNetMBs/WtgfZR3pnaDE97SM+zZL0FuStZATi05X3nuctoaFyhc4JWl4T8U9aWB013pRqy7oaP/TeLFFUyNG2Ep5yWsFAAkvTrmGNZXl5+PSAGgFEzDBFBIA7Zk5UaitFqK4zlZzuFYP9NxHNamB8knHuBRyEA7lYVAnCnD+GFyqBajtU8fTd5Mjv9rsA5iHZKCBX9iLxoGr9zUNT2ZOxDT6lIF5B+FFYs2wLu5g7UpLaj+nO661v9OMXikQTU4PoZc+A8wRU5tiAyCugaF2Bp3aLpqxTaybEtoz1c5iTR7rWvH7Cpj5beG1xKcE3D7nM0cyZ5FuLZNl1My9AB8+FEiQAZMvEXmwk5kf+90Ud+wq20w7AslE5Tyr03pP1n0dtjXQ8G2TAncov1peOVTCgNe1dgWmkNLY7o4HQQMhuqc4dr+royVCWli2bT6hQ4cHIzbFxlwFRXrWVJ8KZl7YUWT18zAREDyYUbdBunBgHeFFPzz918rHq9kJbBOgDh/7ZAhk8VPkEmsG0btbo/jGLDuo/AidhqG87y/0N4epTeFu+ZEa8N8a+b1KzxNoP16bbKMxRlYqCvqsmpGCtHQ0lZhba5J87/rejMEeDqlsDNTM89s+P59QwkX6yjPsNzolMhLHdtLJrYbOWpeiGVaTQ9+ZimfQtqh2SX/gFEv04zLUdDZFfY9TNgw1wfQB6t56wd1Loh7CM9nAuioOaOIkSRo0QBD5f6pKJSLDrPmZIL6gd1JSsUa3QQS4efaQBeWKUqgt2z5C1qaJGSFNQ4GJXz+hmzenCgF+bYZ7FePThZaKiGX4FbYOtKnU7TifOLa7/hwXJ3n/HSUZ6tc7oQaR+lHETsfc4BU2CcgogVADFwODcad4Seu1isCvZE0Fv5if8QbeglXTsC/Vfa9V49xfEXQCmTr5yoK9ZvKh9sTXrDJkNx6q/mwtK9uHGIdos8+lDVJ5Z5KWWv49SOQgSleMw2eKD+9lI8ioWFV0Frz1uC8EIHSX159l4Q6BlSNVxkImfJY0hefFjdjy8RSxck5R2P9aL9Dz92qK1cN5REkaDdhpnls5J0CI9F6/38iecrkDFQOFO2K2XjTrfA8AFGKBfJ+RNpEqcrFhIF2vX2m7tnvEbD88SZDMdqfu0mECd0wlaCwbZKVc1w2zqAkn9IoFktYVDmh3hKNQkP7qVStCHcxahTVHlXUhtVBGRIEjcjr0KOttTF4FsCA0OJmntk9Gs+Ta1sr401UbDE8aYk/1U7d5PJ0f+3dDW5NW6Ch+T8eHcrj13QL6oSKUdG0HBbA3CClmJad6qbMY7CFg6Fmg2THirZxTpg0CcfHLAOUOD/jFCQH/kY07/xGDMVpDpvswFHkDQvmNu1hfL+aydFT8mqkyQ99ZTg1QTc+VQKxq2FQWQbQgGfw0cywzWEZeWeOPr9PzrUmKP2ECGC5/86izx0tqhPnTmG/L9Cdek78cRV+UJ4wMKtcCsjfRq0ecNP5SzR0ih2imKTguePaay5FDNW7JS8NMqinspMd8RwCeIRbJQHfAxqIPl8GFTpt/RRCGCbsd3pAhMGTiO+h6vvJcY56xmG3OdYqZEAj/78lDDmyZPIPMw7lvBHz3BFgO4xU/oTIY/f4JPITL4dBUA5abHYzX+BIaNXPpwpVI41k5yQuPVd4fx8yB/MIFa/ekAWKUur2OAwcvu+pxctz1KWQHvRxiNd0wPZMOlqk8uKLSRMteU7UdqvF7qVBAk04vEDllStf7T3YZF+vCF7y8eUGsV2B+WdtP1Lbfl+Y6/PuUnxn9rOzYdPPHwwEUlGfnMpHR0DGEE1e5GHjgYrZZ49MEHmlY1oRZYS1QI9yNX0iF1lsk5EaPb8Qzxjpml68xHmk9Prj7CxB5oKRtW7DjdnnVPICmM1RzFaK6luyLW0CRQM9nBC2k6nhnzQqTBOazEwucsl9rmbSbQNhLStWCtPDGegDV3qw2PtBn49UkAOpG9N2RlWhNrgRY/K/t7/0gf4kkgZR7Jz3FhJLtG+phJGnwEAfWxTRDm4H1LbwSpVBQc9aCD1RD+Qc2ot+rQwR2XEHhyT7F9unp20rfm+Y2VC/7GQPiQIM/OXCSNTS+0G7WxUUwIFH0BYT8wGy/QU92U6/+4g10OxJ9zprgbr6S4Ja/2D/wsjxcnfk+EyQnGaI4I44h4PrJwudFSBIoq0f5UzJU4qnR3X8JLip35EHLk5Ks+t1bBDqH3Xh+AYAgB/2ETE4XRHhI1qQaYYt3uxKaw8iwdbShk1KaIMqiR3waBSmIaGEsoVCYN5jhGNEKneONp1HAYywajTOZW/6yZ1oPoWBKRhfRrRzcfE/mi+dYXeCcE3SdhGITl6UmPOdIcPRPwm/td0gpZ7fXYc3cB/o1jmBNUtQpvtD5c6LOXLRakS52ENBJRLBnbEeY7uhR65r2ao/7zDPS6JE046Yde/kEI043uljFfxpCUSqz2rfVzkE3fgOwk9NF31icquoAHuWNTebFoo7FFqeE+ny++9UiajpbojbHlhEV3mPyL0P0PFdJCx/DwUXFAE5bW46rRROvMJXpYIPHhH6w9kwEx0gAEKGl1R307KgUY7w8gGTK9Jjp6WgnsPbhxM0iWLisFJTjkJVrgQIU+91aOVcyEX17O5rH3+6HZpLOWTHZw8Onr35hWdikFvlI2jrgiOMXPrKHvt/2MRu5u5GzWErjy7VgFiKO0MYKKlvpb4L5HocHPFe5JOoCq84jWvAdEiy+59abz3oUA1IL6QaXP7WVQLTldqfvQSdoogXXPM1ZXYA3lvM2RJagq9tCPNuCjsMl7tiP0HQOoDs/0EF/Ne65AIDGVQbKIQIhtdD8sBA4YSwSGvFzEOAKMF14dHs3SO9saXOKFvAFsSJenGBuNkzeBSEBwdJp/FeSRAF13bMOdW3ICeD981wds5p7pK22qsx0A+hYacEBE0tZzbH2IUH6MbmVLJPeMIhFL3q3HWjIkpfSiFn7rEC25PrWMj/uHMkPI5Fr8SAMPpQ1I0+u1DLv8D3dXtCePABFtSOX42quidwHfByjxTvoH78HIakhhythXnSXkGMRTqZVrenYx9SW345qrVKpIs3Ura03qodUBP38UVUoByr7bvCQCIxASMqFhmRM0Aus1BF+HqzsA4N7bbaoa6p+5XyWZjAhnV/9sOcShh5yDPNhZT0NUO3KGT0bp+tlaf8M5LCwn+NEuSgFp0l0IfG8x5MfhvYXb8dffXYS+T0XThksGe5NhN2fIuu92jA9/D5/Xlgt7FPm9h2yPxcPOJ/Nfbrd9QtkRbKJo4OSGGSrzIDONHMZmJ1FQ4OrR21PFlsx+kECi8e5+z5LtgCSLTyd0H+4VX36HMlk/VXTfjNrk4qK1xZcbA9X/PPEvqRSWYa5c3qGma2OF1pAy8dyU30b2U9DGCIYiZmJEaWzTBkq+LnRxhQdon4LoqDcQMYwnK0q9KvnkkN+ik5GtgIpo4+agRI6Ku9xrhxLfKSXoHiN/LmvxRhKddn8lKPlUfbYTI+sYCq9Glyb2PoOq7MOlko1rKVWR140FYa7bByGreLnM5Ps6vDjA7Etwr7TSinOrtbfBvkJ5ssr+tzEpcq8s6jurtcuylV3HobR0izy4vXcLsIdltcMZ13JcSb+2FOFDqioJPkaAn0h8dBCoNFgTgWkJos9Xt1dDrsQq5gWDyuTBqdF8W22JhRa0oE8QEvwqG4Cyy8do7/pGoctTIuzFz+m4OU+rTRxG0IIKzhOb85THeUsL3oWeURyi2FUyApdHCDV/XbWqDHrxvAdBVuGHmm5zjsLaPJhwlgI0l0E3hG1sPY9o2O52teW1pKWZ9cheAUrqFuTbO/zhibM5etT2qu8Pt0fiVAoxSMF+b9Y0lcYVuWmpyaaG2oxwXHhiX8OvnImEA9meVkjnorjMWqtjat4+CZL/cFMXSZ6zvluYOymgTCZJl0bs60O43ZtViltH1N6MwxTshqMs2OgFCiYh+lQ4NN1uyvax8QwPBSujWJj+DakfmOBKpV1A12VA7k4P/utLowQQesDEStpQUmcB/+TI5b6h72ooU402f9yRSSqAOVAOqD6ZqY65BjwXReEWnQ5Gl6XW98JX5dV2VqRoSdcBWHKkWoqgZvdT1Q8KX1tPvHmj+qhBm3Cp7fmz1WO/ASLo8XdeL1ZKhPmoRRs55jsHouHG4NbrTFHYSsHssRP3f2H64LArsGrA96bgKWuVnoYWU9tQQzqT7dThJZ1raSlVJmqytMUi4ZZxB02GojFctrYN1vXRIuv89C76YVJ7EjGzpFk1nMAkJ5eV4njXJzzmBOsWJmuzCXc2xus+47kgbXwmDK9a0CN6LPq0pH0fdCCu64tbxbe4wzzqKjwH18utXVhg0xWH+jaVjzMFJcof46uVvR6g4jPVJBRCkorJ+JsIelIFBANqbNgxKs+3G+mJlxRS28bdkZ2BUWoQvOxNE/T5hKfzyJXepQcCJehu6CB/RtpSk9WfNQwiPYgs2+yOV6P2BzIN/BTzdtVIhsEjM7dY7ShKRwQmkyjvT/h5qUo/P0/Yh9qZScUA2CNrqiADvg2FVWHuXXiJwclB1tA567dacKJ2u6d91LrKbdiEEa/ZvWU+WPyjJxaD5lxAZLWEDFxwkcRCc1IDu/OZ8g+Zzat40JYVjmzYlLkeT7XvyWvdfm9J36frC7IZu9CWnRvHcC1oZwpWS5eYtWj1DoN1bVzUIZKHnjCLjTE1Tp7odqx0iW6zZxSoJsiERxcTpKqMFUX0h3VfB2M7le9blHzzuG7NYMfQEcfQSiMOhNIkaDkmjO/BB9CHSs5DbIAijvqduI7wsatK1OU1aMxjjPv99zgIrVN5pXtKQJ/6xW62dNr5dXL1k5c2zeyzEN82W09kPrneCjLkPC+opgo7zxmW5zalfDnsAUy9JOo5r2la9C9sNx0XXNJy7qqB0SGVMmYKPnw+Ap4Q50imM9eQxWV3FIuP6vrOeZlica43fM1rkWisBe0I+GYb3PhzG+4ns7PjWsIQevuUg1tNbDdvEWggIuEEAlqY6R4UyK88+prJxkEm9bi/kwUUltb4lifLk3uzYBEgkiFdALPbwsNpgnxEsDi7vUfX6+0B863/3kSzx9gikLNhgWaqVl6odE/ilcOiipusMvvkd7ydC7kDlySViW+HOZNyt4HsDpV3dBR0b68t90knhHVsQqvT1RPlmPNoxMb6A4c7xoD7ZwEzjQWAfNPSYXQ/tjpsgqq75nbQHynSOeCbSCqo4nGhUuKFHs03kmJZUHNlg6p2bdnQUx04vbdxqyDxPvXXVox1UngViNrF+AOy24sQkZ2mKG/XO+EDJsFraaSeGoFp9XBCgqLNglId35sejQWV8nbtM7lTjQ+Y6O+BepFXpFMh4Kjeoea7cazOSPOaQOLNDeohICQKWS/mBJ25mZQHmUMxq+Q21xcLuLiH3OLlVvm9HcxqrGeb+tPbFdC1kiizes/m8QhjZkyOiBp61eGIZKAiNVDUeNyPUf3uhA251LFMq/5BG81K/4eWpixfpSkyXmyN2OzP82SmssTv0PWELmhlu0VTOPdqy+KJd4MUjOJsGhMc+n4y9iYd6fWu8KvsruWoQCdRq0d+uHe6sueITepgfNuTJlNbhscgwE8nU56SDwPsq3ufm9+LN/m4R1A0r2kT974Hn5LhGMumcHzjGTsl/Pm4vVJmpySbP7ez0qWekW1YumveneXcKI/cT/Ideg41exWzeoxI7j/9OJcuaT4bmFfm4FP+cVHtJnknWpBFwZwgUi4/Zy5yi1YjN1Bp7IWJt6USayH9dLMUixVPsyUBY3nE/kQOt71OB0WZhRwDGdsxvpLaaR4NOo00+uFnWD5Or6DsEJN/BTwrPG0L2PzdJJxdoMdtU7qT9ApLI/TeA8Xvut3gFGNLSnTyT/Y6T7+/0yyxqNW4/yblunkVflk56aXcoMoruHupCSUYJ6eUsC5mkBz8eRKnYoxOTpPG0A2ptzB/zN//SNgMjVCxPJLT9m/WIfBcx09nCNGD6p+Z6Y1AKZtKmWY0cBaDWfb1T1UywKDUw9hDdn4qtZXtKt1FRufxKkwPFwzWDdX8+vQIcyqulFyCPWA3IAEGrGB9apIxc/KPkQrDzs/W8MjDWyT6LmFoCDB/6ius5cM5U8/c3pzSBAk+rJSRRm4jSVR7r0KNfGHvMwKNEwfaJlzDApXroVWQ6HyDV+mI3uAAkir78u/quW/tQbHUpYp3P0JE98nCJ7PcyQfwfoQ8pyORwlCqrUk/dWBNG5+8kqcTp2BNtK0r9nWgesDpn4B0FanICiaRftasyBeGcoiCNpKSQ/8Gp1NIHulhNVYBS8Qfgikoc/CzLthPqFAk5sGEyjBw3OXfMuoK87Kzz1hrZAdyRsamSdz5fDxwjp2ir5rqTpW+Cb0wU0oIfuRyMkq5CcAIZkXRIV/LW12qRQBpXvOijOMX3IphCpojJs2hp96q1As6n16Gg8cpv9UShMlwOi9gS9EcLrsh2fHzLPgPqSxLI8kbvbcR897kKnBvBxv4D/8W4ngdRv1CxxDHo+fRbXTezxHrgRP+fxwiLS6DufSC5hSDQarHFbGYlNbuwZb/jjYRP50WqEFNRGBPxa3ynhquDMnUwAnOnkUQz1Jff0DHSKFlY9amttfpY4dFinEtSfqTvaIPE/35o/t4o9m5e/wZKUc5zl1vFg4fTYQaD8hX93CH3ulDYAd1zh0lUgma0ysNzFoQpagozHicWE8Knh7S7QvVLLAy7kJm+IbcqMrWv3YiTAnExgQZXm6yA5Pzcj+UBgKKRo4kPHwvPkIZS8xhezSIf4ds3VCZXT+HuquOkIf2UiaJ23WHelx/3YPAeYfYtjNOjGgdQsZ3JH83x79aXbZljk4ga2bHX7gJjmhL7xaoA8e2yJBGdkQfi9aDq/5elVcFDYCWysAfvq4FA0wSx92CFUhse8TsWfyIy4CeT4QFjFM52xPi+cxO2fRWZzETiJMKWRtgPdFapI0w2XblydwFmVxY+r1t51VzVOgzZOTd5uLktJjN51xgxNz9v97pXVB+LHVeeG+dJs3W8PbZq1VmpDXJkWJl5RqAq4ZCRF0XmN+zUH+bCGugiPZwOp/Hl7oiOZuELhR17nEoStUPzVgANZsj90M7iBbEx5CsdQnyNal75luJHbun4p/ULRt+xCGPLyEBhSjfecdAhej/WVmYCc0753NGCBGJ+JCMcg2K6qgRSoz9OCmuOXQpVBx3IkXlJ1qHVqj9rn/y/EptyegYV6Wb/8mAezDfrM32AwiQIr1FnevXTrq7Fj6GDdFbkFAFdtuH1u05vzADio1h+/O1OFjsTkxww1l0CRA1K9SOOYg/K93LD30O+dbF/JmpCVsLQPVoVuFL6X40dXVMWayz8UPmpCirTxcFoC+Wlabm41cxNZAbN6rF+nJK4rAV0G5Amr2CoRtm1eaLdFPNuxiN2FmRuQhQddW7nBWnOGnJkVt7Ek7WEIUaIu9I24l6sCGnaXoTZbY942VrToE/t5s40LfE3xpIL3U8P+HKiPhyOI38rdkegwlwG2o+0UIPy3Roe4oglYLWqtxJWmekhqs3gEFCZDeY6tAIxPzZzJzvJZ4/2iUt5f+M8wa7WPDnorZhMb4zljTI+Db+Sd12NeBjNSbiA8sCxUwHnx9D94iX/MVLGa0cNAxzzJMLkrjGMy+qvGcBSsfmoI7Dlb5EuBb4EUZ+nkSsjtMt/tOOZ3ZYhWT6yBf/LYC1Oc3B7Xvl4VCgmFDiOi0kA8GjTrM685jPHq6v50zG/pMyC3CiM1GLpKpJdhts2/UE+PDXpJintaDAzkNB2YkUGjWHmku4AD0mxGGLlJVC47xnEXbkQioF5WSEKwrs2r20e2LuZOXSvIr3I7Unq7Ah8dmSEzviIkgxC7VdnlvxT/RYoONzrwgtozkU7TEWJgO4tyCtx9JFtEXHEZ/UInt/I/wtMy14E8SD7eA3c2vgukIH0SmQ+tKCaX8QeGNaswWoDCffJ9NfQOD8EDQpryObkh6iovWNbYYXGZvW3TehsmyyPvOnADFG0k8O5cOnqFzHGBpKXidjJ1tN2V/NOoIhgGz8RswUsX6B+f7oCzsFYKAeZdlElju/txha+iEoNFUb12i9FFc6qlhfar5E6YhxlkRFFQexGwn92Lv1UO6691ej+T1Q7lyL8HmRzKQUrE3srWGmVp+CY05plXxKQNBzrCudffyHiOCL/E5dTAUhwFBaKTA8DZ8gerHIdBQ2eurE385GBjbv3r8x25Of1ZNeN49ARDI81+oAXiLY2NC2tzkMmci7z/lJcY9QyS8uBoTSYKSiM+WYjRxUZJDbLO7mr/lCFNk3rC86Yz3XciWzD/oiUQbR04ma6RyiUdGpLFVkW9sUUGPIYV2HLPeTU4glopWAEole2wydxJEf+DxmJo2Jhiw7AEc1LMii7JrNKrk2VuPUooWwzZwgpAyL0Q+CchdZcazipgIeG4m52Ip7E/V+hAZViy/kr4dYNnX4Lb7jzVEPkRhrz12nBD5ShYUb5khBJ4C/OP0T/I1Gp1pSJ3Ii7fHw5umdOWcmNhTBv5+aVgKuMt72FuyiZDfeRhBwfWyeM647PpFtxRnYrXJjse8GJch1vVLyTfCysAZgSOMrXEmSNYxyF4Fv/5P6vvyyBWyv2Hy0t//bmazahMN060AiHtB/pY1khOrKhuoKYLrUoQXhdc4v3sMO9d/HMBLPmN94V8UZ2IIrUQlo99LkDoRlqcPpuN71jJHfM5xec4PyK2SxYxElJ4cX+/pA/6R4zxaC13Xboxd4IjyNUoXWYxit0CdlYkhu/bVvCTom71uSHUPeEGP4JMUncHUxe2vEh8JJqJAb7Achc1HM4/DPJk48kxaseAzs465L95Bfu/IOrLlz0EtJGeFdN064+MNZhxfnVJZTJpuY1df1MBNvZTvrdDlu4QUAezmA9kEhAnBQAwAiEPirG+2is4BlsjLsCcNUez2tPOXcOse5AtstD8/7gdqsojOEWm7Gx6zHyPRf0CyRIeZg9eNGdJo1+s7GTahqAArrCYSKsUGC4rkvWiV8V5GunnUNbjX94fV7KFRYwJQqrd+5fmNjSJRtDFR0pm+LX4JuLoaJPQnFRYfkgQAXHCVjTeZGxn3Hx3pb/euzKm3a28AnIcb7HErNiBLGqUouwWH9RpNTsdqbVJsnlpC/IdkolbOiaFq0/mv4QQHOKf+zjYcTvVBUu6jcY780ks9np6a1NTP1yQR72B8NL094YV6089Gft0Ij2n/Yn45W2G3dkd+1y+VNnw2irxEI5USbDaoZn9JSsxb1ENadWEX0tk9JkLHEq0UIOvJsnuDeCYiv+ULbDmOO2nWd6bqafrBZur0P9eeSS1RMUscrUgATAk7nJDxX/zjF0v1I1UQbtJiLUowGCgfqHd4Xs+UHRm3ewC80bYhgovqLD2QeoewzVduJ31fXgqm1YKz7bhWTYSbDIxpN7vzW32tT26Z6H+SgBDBzZxFNB0bsBK5sZCvZ57YvytUtu4jeuCQv9yVid1jzcOt/deJnz8Lfl2xfOouwDhwV7jsKn7J3Qltt/ZVm6ngOV/n2IGEOYO7+LSccZXMmDEw/c4wrXzFJOZOYKUvflT/lfL7RNOu84cSPFiXJpjOtdELqlKOGgEnS/9fimYphHgwn+v7EDt2EP9mMoxVFzkLNEXvpTZo4/rhr01eswylBPzXVUT8e/6TzAQTj32C03GKHRpD/+XI87SKvHTcWLsfHrSVSKmNJcnPCNwmlPqZVhKOAfXnrPF9xvoeSnHMXThooFNjy5GcqzmBZDrIiPa4VE+Gy6H+g9/i2teWvBoJ9u29AuEpAYvUT5HBZSPLVrBQYmZ0uerFRgQyOVWBcjZO4R+IDshR+VXYbWwF8DKQXTvlSBbja85b1aUguTAJ683r8FCm0QsTkizPo43NpHyCXJBsTLT14D2/s79AVPAHKi/BciQPMT9j1vcucfChnDusO1tfoq2tY9Vzmk24ctverLJq5sK3wv/Joe/xg/EiTg9Rf/HPhfCl/6SspVVsD8ilunGzb85NvXyJptiYZaygX0z4auFedM+BPSjjnz1eL1BOrihP9TBm9/HcZtZD6MdlbRfH0vO/wD5miEI3YcNH3t8VZ+GVuf8kltAxH7ujWgheKsoFyouP00eX983MVWf8LwgSM7fMhxNS1RhTQJhd8t/PydCwu4waWmHVwCXQLOJbDXU70lBU92ssQI0WEsx6hJ6kjRF8EvjSXhEJOHpBT03antUbu3xVbUUXQYN+8tybjJ0GZ3oW4tsE+T4DLsOX4Q2HQ/sG/awnqXYCqQ6aCw2yTfnMTpl/mZuiL87agZAsRqwYdjbs/OA5pNFmmg/Uo8FOBSknCBotXzwlIqDMZfFKR5cG9BQg5BEMl8kjrhRkV/29zIa3S/87FHXWGK2MTxBt8NgISp3DwHRVNuLSD3wl4KRLPdG1UGlExW62bdb/QGwdnLXxMdHRSi9QjbUOhGwqJPMQNdDvVOLZY/kMUsFb+eo309HrebWYxxgAohHAYCAXJGFwE+PhvOFt2uBE6FMJrtucJ0rcNWG3I7MnBbcAQPEUC8+I6X/uJ/E2EPcyrZC6E8ZN6D76liTtJYU1pgjPTxcfXeVkAzXmFkYkOwA5yz/HswyCrXB87qumWyPSGvXn7JkSJifAtBVNAD2KfQ5u4EM1xb3+krpujOl3ssdPmM+n7voTk83DjSV0CAJxCo+ZSO8o4xIDKkBBxWtyvyPCN40ie9IIhuJyWhSJx1PeHjzD9EmMRDryv8BXVqXAkUZ6oR++vtAuyKd3g2HjHcEpNf5b0tCkzkNgxzU/Fo/YqzGUL5Y6z5diwa5ANQhxfT7Ad+hayxTvLUjxnEJQYRX/bbuLUFe536ehnRgMwf6DGns8hSaYfUPnxzOpY+XoElQ1RAmjKZSeMH8n1kyN8JmUPeKN0MeZP6litEGk2lA/oNzisNRqxtPZS/2eN2ZIThPk1z7jsnX9XKc6NEFLGnQO1O0CXuNN5TOzIoBReYEBtjVIv7dqipxHnY5UBM9V1mCL8C+QzAwMnj7ppaO4h9dUoBTBWed9ZVORDCSr5F25YqygTQ+uXu3tIcsUYYDlq0Cspor+tBW7ksehJUHc6mb+gJsOE0zdv65Injs00ExoKhTPQfSXeCvhEVDwu3CpNJUeNJimvnfB2BBnZ6tHRyzo0diL16sRA0zkzYMGKkCw4NphFW81UQU8moA2JALq5qHEPD6FVnomshImNHicTBYsN9JBAg41K0DB9iXJoD66xUT5flMuPzMjNjvhM8tRgPmuSk4klHTHCrVv7g087/Nc2TE72yqnj5Or7pq2AyVwGFQvOfSV65eX07mrbIxNwOsks+gzW7V/4+HXb3GPaMIZCRPU6ciEBXoDRGuFcZnd+vPubU5nuxw9F6Z6ia6vgYjId+c88ec3RhEb/tQ58BoDFMDeDZsw180X6roJfnx9+fDz8u39nmQHGrkDHl+MvlsDqTPi4JfI6ldpWRAJ3z7xPH+yKuexjLUK7td5csMbqIMg/q674IT6UNhkd1Y66Shd0bmL7djEh9SHNGr664wvLHX2h0ST5nqRYxlenj5kI3jj0fk2FuXdPAHVhnC7kSw0PF6bcIXY+wpy6QgqTWHwf4wHBKz3P3aikySrUPD2Gyqr9RO2jnu0BPmL4j5TpChStO16LvZYDwX6CgFUlwwLe6WxjThFvvHYwNP3eSBGgXJ+McR0i1tt89UfwJvDc/sVcdGFAzCElToAiFM8B5DDzmjkUjTWE33BvWz8YCm9C+QN2SDK7inkBXDQak/k9hnM2C+lwcypQbLAUSEFpWI1hMx19A5ZIjt6ERObRA977lDgLjJ7gZov5HjucOQPyyhRpQXZBb/lNNp8oNcwWdQWaSDYZRnLgptFr8Pp6hkTyouW1h+0Iuaq01HL4MfoaJ2a9kZogGlfVSGCZBQIMvNasN4/h4Gx/Gx2I18UvFAt457YkqikrMEOHL22iWVA5clkjszGGHx/pjYijRIuS8zbXj1Ftsx9hC6gcbjtoLXX+tq07ul6TrenTJo8roxkbci88S2Pn0AwBvI/ij2pBrWKGkWYxezNuwPXAk6h+PHULlLMeoeb954qFG6XgIaX/z5UXn2VK4GA/11uW5ZEGQU+I08lv2gQ9peFHSgUdMtOM5zv1N8yyMiyEMEs1g+OiYnX3nO2XX875kddmhVZwC83RbgHOC8Ogk464wigvMs9+bxcnsSjOLTaCOfp5xu9txjXYwW8XunzI5OGS1QW9/m26TUhllZBCTvr3Jcx2letgVVVqts7Ls0dHJQjO8icAEm2hfKN6Df/kr634PmkYv1uozGm6G9qaWLy7E1grrcYeag16QTzHXT32KPBdfo2qMbMerpgYv7B35qthfPb8G8SF1nqbXamyppg12C0Xs+bKM1H0bWA+Q5Fss4C9jxxc5sCbyXAmQjlubf6B574i6OYmm+NVSQCCH5c9bw7VwjCBbNyIZCpNvos/3xG8pSy/qTSuuDeMqKxsS09In47gLBqTSnmAlVkS6Lp9x2zW6UHE7hQtjxkhSiWKDCca+5ag80h41Svq7ggTBB0obxGdpTKA7F4jcbbVL9tD3kAmJPUEXf1DKwaxPAmiIKrxBND5K1fFtIryXas6lHmbF4WSXLGWPCLDiLloCPcI4ogvNT6TiLP/pfEditveaGqWFo8LbXwMDHxDlvC8JdNFE5sjh7K6WhZyHWxZ5HlUZ3PfVsDzggBCUI+ATFT/5n05cV18iK1Y1I6kW1zdS3UfHw1f0bzeky7Oke9uwiiz+GRR73x69QeUBvnjHmxBBLFHV3ULUPEtoVWGPJfKxgnicL4ckd65NlNICbLzgZORy7pp2AWz/3WLVsW7l6mOR6RzQ7K51qUllb2+SgmgLc4JNoi8oaJpkamvdytN9gMZUL0J7yfgYHy+Xo7V0tSk/mQdssMijeMMdpOYPKK8G8bCkiGfneisa5wUarCAvgckUTxzHFikIK3vhHtVbWBsOD41KPmobVkN0gexhDH4QmwWUOErDI8OL5X3IXVcAnAODve8gLrzmx3504QBhQDSQsbSXZGwVODBxOLna070v6oGsSlxnp7g3DH2l12rqp4Uw+BapYjRonCuQtdsDzqOMfagpeymYuhiRRU5EZFnxBm63mma03aArOrANDZVVoF/87zQffGZ6yKLohgW3leopBLx0iEHG7M95ESm8XEE3rpd8jA+h13YErc0aoQa+hMC8Ibfl2pcNZBeXsBwrhzT+dT/F0xUB/KdW/2FdyBVySgOecsPeHMAjEMfXM+yqAyLVRzf6mIuf3mRS4+iRmCBYUN9RrRSzl6uMdKMKvS/Q36NnhULxaQQdkGdSy3QZY3kBHfg2E31x5c/7IBLCHOqt0RVBqoyjwSbYy4njMJb25lAaNSO/5qAQNODnRf9jRKbeQqmE/yLpDZtQgO6wQOrCmOFIlIjGmvFOFX8dIERdup41GDbbpHyyj7fhkXauZ9sELGFKidoIYISN1MWPXuP8dhCe9APqwGrNT2geXzNy9//3JEf+ju2fCVLGpogpWYr+Y83aFwvKjYIL6shiQp9PtcwQx0bs/FXEpZ5Us+5m6hke/oWle8ZueMBPLhU63ymUotqnD0kGZMx6uev7vjkpJkpGIaJ7LcWJsgkvw4yeArxAS5vSehia77seWmN0QvprjCyeswYyuOJOVgiKTuPI1UP887SoQ/6Dbd0Q8AhiPevJ0sYnb5aYbVZQN8y4b279mUapX6qkoJZBMn/0vengBLZWGo/Gl/r6VdiDkwegfY+Ef7I0yRuqmfdrMaNH2tu8JP6G0ZwX3DuSnElganGaqLeBJIOZaC7Cce6D0gm7UUEokz6PZz+bFThQthZLGCJHijiZ5JqEUQwPo6RyrqkAjHWMl/O6EatI/Ju3jyPOS2agsxrQGQ9LNO7ohPshhTxoZrUK6kMcWnZU4qMqplCfoNFgNaatU5x4UkV8MmcT+bq+nUMyVptxtvkPOvu0bdd/RW7QO2+21cSPhd5B2ongZ1tyxPYqBy63BT3CtdXeDCiZGoHeJjw5m77k/NuFzgmbPQJgoDjPbndiD3aYWEQXMUVgCTQlnTG/lAI/GyFoJZPnO9v1fKNX3ph6/Vh1m1tt828dAlEOPnlAId5FXk+hf1hjy6Cb1ffl8a/v22ryv1ACRqWTSCZ8A3lousEzdqtApNBSZqCUKHYwf6lh60LOPDkinSNgQUeVpYwtOrkcC5y6od7nVnVlxYahXmuPxCNT7N3xm9daM+2sYge6L+OIbuC+7ypSo8UadJpSHbTilPXfZjxDTo0A6/gdlGQlKdotryloDUVW7C7VeNWtL5R0++tGjZM+iJLSaLMXKSON0Ae3GBoQ6pLUJCr5RmDmxHZtKMfdgQq0veH++oL8QgmwceCmjQq9pxWqcXvv2QjxqZPIioA5xMSxSrRch9qRz6NZYfpLU2zDC4ZK+jo/Bt2YsUp/WoVfA+01HAnLO6fQuQUAjEZVk24eBUlDv9kx155+gfuUJbEr2CsugJ8Rp+0ond5KkV+9C3D6u931vym6JayEtsUfs9r5XN06M9nTuSdan92Xjv3Gv9NR3Nb3kE7jqq3k/47lp8qqmMONpfEHypWi0VVwq7kQhosQXa8L6bgZhXIN+C3DxJkY0rKUFvlvD6sPUn9qkr50L6asWzSuSHoqtZvHA8xhZQ1F6lKW/9nLG5vvvCVTkD3N+IXPe42QjZz/n4741ey+bXZCjylY2bcueorAkpgIFz1Vaq4QexsxYXeGeJ57bpjMNI4ZhmcAms89qYlNegAOVFHfA0sCSMBYnQ8IbRwG0eDOz1+LMvhBQIg/tSusHRBg+F+5VQ8SS5zIUx1KJvpPikcdWzINIq8qkyWt4/n1EUd50j6l2TqxayaiUdlOJKlV+4iQMGIRSshXawMqa4iCnprU8iBqWugzltrElVdrB+ao03Kl4ROybg4AkX8bP9WaJXGMRMcD62EDPKXbdelAq3VRnsw9dfJT+1mcXQJVELlst32b4+T+WTQGC+D9D9cBKAZHBUAtpHYvFBs7jgLk9MU96KAE3t8ZVF38AabxknL5tjxdvLhDDOMHqLwqx1vg4E2ljdclveEUiw41aYbWAD/h4NFJni3E71OO1LUfHmEAnX9LqeQc05RGIvIkE6N/Ma+iqwyuS2HpNCMiMSSGef7ST454t+rR0Mwc7jC9GJwAyFyPlZgwbpzgQLL7mt3hbhDFuItyUaVxIO4V3ZR3ItyPnwsTx0MVVk9qIvh1ybRc57e3Hr+SMP5HUaYdwHNoVT4iDAUcB2m+hwPCd4ZzIpLfpYt0pizjDe6b8K9CHun9MDpyZ2dJ/JbrfO3QqENmspa9ryiSd/qf7SUEO8hCfKPPCnbAzFEQ5z+FtiwEKZ1pPy4cl7STXGProKIBeFfAsPdZo4UwH0ijXDGx/ZJv2ecxR8yi4/ry7pW0ZpKXB/OvGiGsiVuOhVAV2N/Np7I/iLv85x1zOHJeGKIhzyh01g4bwgTXIcKKou2FyPWqhztrmYiXHPUzY9mPOnJW3EajISG0EEt4QgrEF/BF8IZCFPoKRE+svd6MG7MBoo7puMcQe2U9CNxI75WMNfE/XnwWaqh7IR8PrO8K0bmZR7OMJm/BpbJ1Thue4Icbwf8aAl6Vd9RzD4HSs4QHlZEc40hgOvDuI5xdJNzI9smZ6hPobmr+AfHZYd+QF2ZPFBQUYr+rTZqcJY0z7vJKiUfZ4XxWTLDzC8Ef7AqUqTtTpwWwKWCPAu/Wn2vpSwcQYSmoFHQdUoJITHHbo7+NKBLaz29UvZtah4meZ1hhBaD/3XuY/xXQJaBhCS4Q+ypyPv6tfH0wk7kUQLarpi7VcApu/KzJU4xyFGJFlvlpLCs8LeSmZ/bYZPeLaQ8FBSPFt3ZsISjB/fTjhv7W6/zm14JQAQTaAJ77oNPml4n4V5Dny+mRSxNClicn7gdmxT5qj7mxXearGTRrKmxJI4B0ktzV8+80zZJTh7sbA7ox+GlHBGt+zC9T6prjlr2x3AGR+d23ZtAhVwCk8T0VMZHjgOAsQJr+bRpyh8RHZNnYCbwkVg02jwvOFtUv9SkMDZt5HuQqfnonai8bTHwbJvnClhRG621PhHvt9wD2CFs5sQb/1SIA29PLSmsPoW08uyA4cFoJAqdwMX8q1vRHPENhd2VM207eH2xclH/tjkJ8Hum3cAEbBFsCvZ4esY0vHA5QwfKzk5/CwJS3n1FLuHAp32DqrTqwgzQY9SuE3rxUlWXKJWMAQK2JcTsmezWkMIy3+7FuHNG8/QdmAxPqrLlbDcTWAF7gqGCvLfZ+FL6GtkcLJV14jQA3XZAXcx5bfPnBEFgzdPTyYOCD7yf2OdLSj0Q1hIeGspHXG400/gZwwRFdg+AdHGhmo5GKlSWHiMBl0fMWCYRR6DUFkQniVXZrpJZ3NgJgG2vqwuWwOn4sW5SS8OHG9PYlUdZYVJNpiDVwdHO067lkmqBkt8zZUz2HqP+iDCIx0ph8z9CSUqv/UfBvBNlxbL9FrLT1YAmCHb6xBzqy2h/Iq4Q2mJMaC4KeJXLvv2vEkKEwb3/2bPXra+jPzYw3XHDjqgqqSS7rifLCwVmX2v/FsV4XnMdcqrP3/1yRaA1KrIMeulxsqlOPaIVsCRk43Me8NATBZ5xyoyg38B68Ky+pTlXRnkhKBeI+bw/IV2fz/Xs01t/5JcN0BsCEEii1+Z4/oSoVY+EXpxN6sP2aUqQFaj+uTw62yp0dZRPg2OQM6tX2Y60NX+2jshEa4j2G+9fohT88bq/ppJGA8e0F4G5n6W3Bv6mEKuYCgLJO9NcoXOil1MarCyVQpks7MKiLLmzjDXi2i5KckrIIkfcUtB/8tEXLfVPugyPBJpyTZtDqp42SXELcbaST6gJwsvt7L+iZ0m7XJ3kqM7pE5r5CnXY57zSLH437uKX6kz7ikylhoWJR2HrPq+VhlDQxz48K+HBvvCb+WChf55t2qAjPMt8ehGt6rmAz2tMcy9/JCOA1/7dbv8DC0zh/zl9xNdT1UBF2taFeRPVnDIDDl3wOlxOqhuEUTK98V6bENltN+VaHlelGUMpPZl+sR9Gx2Hm2MJQzymkWlxpN3zclfacN5dF+C/QFeeL0++0wQOhdgGvf83c5VVH36brEIn1+CNEQrM1bovgTGtGh0Z6esI4y6OEVsaSWpzksSXfk/aMcZBW8AoFE84o9Sqnekz0KclVKuJPhWS7qeXbKIfNUC3QR3+Q8y6uEnsn59b2xLuNYGOmpsjvrQRLqcie+/kFbC23pvJb7AWIjuSHE9OPadUE1YIK0wn60M8he+3aOa73LDgQZ9wqmUl6fYSAQ+Lhu5SHqBtL1D/HlB7ojR8WCLBRDvh6fb2lNTcTVCdJpONGf7fvbXiDCc39lafE+Y1s6rm+PNBwmU1BWhyqohpdZ6HOnoRvLJ59BXuXfHVqEUBi0Bgvsj1s5zdvWjE0tP0r0Gap56Km3wUa0iO40VqOXS7kdA/vgKiDM3eiPY0KBeh0ujbO67kmLEgMovTBUnYaUJYPRNN2oz0PZmv+sv1+3XByObpq6DLJWvpbK08TF0qweQDhELhVXw92YTK6c2fykqPSyJcYv6V7bVJYxVOFbvUIu00x+K1DNVLKe0+lg4bdyNuxue+wfq0fqZbMD+nlEanfiLzH5d+o9N/fIoLu266MWnyWSPVAZEj3gElAE3LGW2R2/21FhJh0jtFkVqFeq+s1ZTz06Oyslf6pcHkS+oSWjJwjRhGUJUnoggMmt25WU3d7kOqUcQfVwlIG2SZBQ55NlYGzn1FWl/Fx/iHsfx9tQrbgHRWdT4Pjcv5QV6Kxt2G+LI0SjfgwTuDYGrnZ/hhK0yav6tzBV+fDv1hXRBd/MCSSCbkchmWm0UHpCCcobQVZ+eMCq5LRLdp3T1MVVEP+qeQRV94YIvEqZx2+xZ49VzTaiFT1RLKK3h+UGuWzPUJPc4jFj6JC+vG/V/phhI1ifAKl2QTtsHMPA+uC0Kn07UbAgxOLg2lBvcfbloPY6JitEJLqDP722p9WCnD0MeXIG0OzRx363NZ9RlHul9/vK7QtBdl8Pp7eIKckZz8c4i3btQJQaulUiSxsV5YEyOxKyGwRq75kpRg8qGtLA+jZ/MLrRoVF3SOjDRSnN7xQmPbhKruI69WgXaoO0YLmwgPA5RJhGJ8JWVsOLsOdqFpB+sFpWKVgNPiyoABeDNtUn/E58IeGuEqW9crCxi4dLnOdgGPnXVgP/E6OcELXJ0V+fCE1g14pNDN992R+7tLThi+aGL+SLeIm08XMCjm/QW7PLP5cEjRciteCSbAjNO6WQ774rvUj42cSxsfn3L553VSwyv0z6Fenzo5XS1USf2cWrJt1FA7C+61kybseg6ldILOKEmsum+3mIaJOSyYuymMRDNYIFVNP+9xjvSnu+W7VlyRd7qhoZFj1JEcXRfDiFB/Wf+XLxIO5dxoz4Pvhmmckbs6ALT0LpgdSH2XKHe7ATENqmFlu6TDE6aBJFdifbkMhV4zpuzJLzY9tzsepyfi7TGJQAwbFkeVSSfCv4JYhKfGAWVSEIbSxKoVGV66tNA0YtTDJs9eas+FrR7BuuQ7XxiUM+VHQAkiNEFhRLNLD5ipMxUBJHQt9UL5ITf66+AyMp3pT+z5L665rITkYI+ctc5SR+mUg9d3DgE/nr8iT3DCR+PLYOGpr4gWWI+YEl/ASa6ObwurqyeTPLEM8AOVa1+SSm8OkWVHkT174Buhy08q/5/GUdrusZ1EkvdxcFUs/v9MV2ByICrua5CiBk9zFnXTDD27Na4UG4RD318eSPGLs18jsmYmvkoFF29f7pJDjbfonMmrZXwnm8YzvOE8XzAnqhVuSyp+ngaZFks++2yKv5Y4F3df/6BEXHVkVVX20zzl48/4eHBdKiCh6BkC2L8oqrJy9cxyBzvz+fyTb6vrnUx0qoxHXoUuUcV1rT7I6zXlyAPl2FkbrHOfMyA96KS6dBrFRrUIiPXhave5UGKvx1+HgEowGj1GIFe7BwLJjHecwsRS7rP/d1qfuogKKaavF3kvwolqrHIOqoAASIHJiWy4/cvZ+CAEIXl6Y1jg+5u1HtVPnimsuJqFnNVFbp0NCwnjwvcXIL5CNCJZ3goHZ5/e+o1SK0WfuE0zaBBWCxHgxyPVZEw0QUfkRWLlqubDeU/G5ex+KzqzACk98NdMnwU301QdsxG1aOH5/uM/HoS4c/X4NOpLqBadCvJirFxeDi1bkDbIZRPB8oOCV1EdswOUk+/uEj52v9kxU11DY9hSse4P/s4BWmCbesxw8y6tn4DlMWdtvNUs6PsqNXBdlVwn/5kWqWXwtX91zsL3GblF622ShClKiQqVt8yWvT5EpaOcbvvxVOWm4UjAUesENtqWB/H73BGGNyyMbLa2eGran5o7SGRWjeEPBWcNGVH15RGZ7QSY3t+Ka6wm6Ny09CSOlY38W59K0IOL4l2/lFpa5VGTSKh33NOvFTtw/mBKUHKnT7UJ0nkXccY8DUFFGXqQb+UleV/x0QjC63+HMk12F5laguMt+m6i3iZQLUYOlsp6ITOaoj9lVbBtm2Avi5fuMvHC+aDdcjurJuysc2BLOwHWCefe5Am5wUkn5mFrYVV3nogApqZsaaPtIaxnYC83Ruq+3bsEM/67OdCIHhZ01IHD+8ntP9Kq3gsENyENe+vaGD7XAzKL9dNdcXWKmrYKBNdfmF1BAhyK1e22afHgspjfedTeDeMIjMPcPos7NHtSktdCm8mSFZWhJBZ3zS7yB4x5zElQwc7Oo0VMC9lCrntdxv4luwWbAY2KNRDe/Ht/1Wm2HqWXiSn/AGGviZ2yOP4wxQ9avJ9LS8Vvx9I2HxImr8JQ5dbBxx3nRN795v7OrP6Ah9Ks7UHs6OstDd1voUwlXeuTs6o0hQ/97GYxEux9NrsOFLuHgRk8ZoIl9p283QxEB02fdjLPg2RhdwDxqrihgqWms66Cx9HY9/1STqIHLTvVfKQNdcDgHrAaCLWtLJ0vEfc0+UPrxdWDtyIHRhiRhSxQveYfPRKgEY136Q073AMbzSDQEY6DGmDrK0pCIma87P8Y/OpuZBvKbe+0efUwUmU3oKwlco/r3ahZxgEL8cco/W5A5UJVlb0E+eW9cM/C14uzstccD3/jclqrYqDpbTA6RyD9PQsvDTjXeda8y/Hd1bp1ApBQqBuTafSa/qaa7wLG/C1ZYLHX6jodnrO+WItQK22Wuddg+MG1+QB1nIqKNGXVIgCC0+5MUfALVJEjH7EBIwFSYRgFaYprjGjqkqpe1bL5F9BlZN7b9CS8XYkDHcBSnN7jj0pagzmqiciM+2/hVdCBJxMr3mwYGuXG0FuwcRpeL6CqhI2FzsD2iVvXkk7J7EeRO5BUqZuxgF3dR/fyGW9JcF3u/sAHdYI+ArKZfPYwqs0AdMz09agIiPnpT/dWLtC43tXuQmbJGst7o6MGwR3FKLv3DDIXsgDotGOEJsX2KzXG0ydgGggVi5kX0Ozx0FRJDi/G1aoB4iJb/9iSlV5EaNQ22VC8XU8l2+TfNrbDCuMp2LBMD5u4Gu+XNBoUeyP4+j1YI2tFNcCFABfCNzmFwYrr7gtQyg3ZkyY31mpaP6C260j2Ruz++ijOyMEMnwF5bSJ/L5Ak9r2IsCNIYL/qTC3ddJDaZYoOzvsQf/d32NGEwr1XSPnfpYxLRFoaZh4iS2cfr1zSAsqz73gwWfBgmpH3RpnMTuV66b3dwUh73E6aoMIVr9B8DLWczmxewTTZ3AY+ED5symBEUPu1ucS3tcPwZ4g8ZtVeEDhBTsptIYxLE27DZudLbv1SW2AG8L/OyQVj/pa1fLUIH7y0pDZ51U1AwJP6kEOmAceaDscUuK5RdlwT8+Dk9yIkRKIf7d3ui0mMt7XzhjZaZ/nW6MVTb2Z1JEdK9eN9R8Pttkm/rcyvNCH4xIL17aQlv94JAm3PE1r6WVhjN2QvusfptaTDH3XPeVK2x7AMf8axDWoF15WkJj/uvSNKm0aExXcDM+DIaXTOfR96snUkjdNJ8Y5QaXrrMTpncDxEYHOYH7msEvwDYz5NGC+gGf7dmdNOPm/vVs948LCqW7KPVoUD/KcRc9hnK4cKiXxgw+nifsxDSRc/sW5SKPwM17wyxhgPyOJbL+Y2IW9bV1jPDMlkIaaRhtpKEaloisHskqpsJACNslPTu0S4qvwEtOsvgat1pdgK4dw5O0zhXR3m3zHLzqiYgXk0+6bUwlXnwARGXwxwGibDD9EYMkABBsZy24ps9N1GIFIAx622RhYgcEONC4duU7Sin8+7pfHLxpPKExubQPnDctF73/930njkTJHexJs+WYEN20UxVxdWKQJlP/aCgEa7hfyuw7pFfGG8LCXXltsoanl+JJxITMPiNrD2rPCYnO96+RajtFAFuNvOtDKCxZ8iERLGZBbRIwMG4LjFGHrsTaXak7DR4alWU/YbAXxp8jyyOAFeDpr/6Ae3VGvtXK4nin8ryzgpa2ZPgEJ8GI+ZFhJbLlI0FG4ATqVRTQ50l8ZoDxQf/4wxuuD+OzwroSxgVI9lmBHfHap9bY/k5IRByHP1hSoM2InYh/OTkmUdc+2ABiYLjOk/EhqpTivF0Jv43QqqAkgNSalp9q+4L2aaszQ8Srk6FKZKThe5cGspGQPgMEwX+LTJHPR/Wx3psgFacNln4wJpzhR5PpebeXNqbZIVbM3UJGQpmuM9WmW5WvESO+BW8/WXSipKPvAacvh2BGTlm/WEePBDFDQe2X2FVeC4T0/ZmV3HvXOeatYPEMzLLefIOKm3nIQcSF+BzpPgxjUht8jmXrOpmr25K9DFdcjeJM017p2HR3H7tpdQfi7yfqcLQReqe/wWQM/Mml2HQWGa5G0fKxjv9/Fk/qEuKKNraF+oV5giSdvZeKauBN2kgqAYcS5f3iGJdPdEEIrRc/C1VRgcfoBi46NO6CAjtbGND3v8dh5c99Xso58PfA8VOMgP7jw6gBd5cHOldwZm3zzNl6mVzJvyfvzB4zjWIiSDBFO6kPVKJED7OxJgt7VKB6LsM7Zn2MjWCPEK80qJS9NXive6IShkh/gFRu/v2VamD9k6k/H8mCe1GdiieF7sQVBToZvgeEsPYMCjS1rOadwe3HYm51vAoHt4oUNiwLSqvrLGrEKAZL0bafcdS5UAI0QNLKfGVEW8B9KLw5/0TmXxoq5zd5jNbwLyF22hUHtUaD8iM1/vY9UPMVxBdhSdoxDSMIp1HaeWg0Wbnk66z5rrF8NOvwWqllpv3JJfbpEC3+vuU08K+sVD3Yf74lMrGlIYnEdyEErTVKGlwAIvIHYENu2cSwNgy+hniLNfr4ZJ62ovwwylq2dBBcbJuUxt5yZT2bCiMjAE2wWA7HuIoP9uX0HQGLxG0sMJgB644VcZGPt/cXr0Yr85MSGZNXH7+K1oc09totxMYSFZ9pdGPcMQmm9mh2ef5sE/5bCwQHqWyV1yvb54FbBjr7rOzwxO957vhQ/KYbIukt5ULkZWEfjbwb8J9icI8vQwqV6b+U5D7Dd0MDoPjx9bqvfFAoNEwLBa7v2vLPzQjtgLRgl8PAaGbfPMhSE/tsaBmjzU646w1zePNtZi040HFintIHOJk2BjSeFQulEjHsUi7Z39TVMn0wvdcoBy51Lw6M863Y5ojJDSYbfd8ZCwO/loUUUlalrNBv9MoIjVNQbdMMPI8aJ9hg15xtSRIAdJbB7K7Yzm0HLXdnz53+XAntT6/UulNQQQH6o8kKYuX29lnVQDBJs6DVncLLr19Aqn2qLA+sMxGEjxRqi3KJLWhdpYLHRvVXLUzDiI617oT1j8Umd8hjH6RBd46aSeTkIkvAwHuj+BC1KdHQAvQFrcfA9O+oy5dzIKBZDj0ayshLEMMNCWseWwRk9g29R+S038x61QISNkO3xDmIUvYk1vFFaQ8V+HGfASG81qeLriYbRtooJ4FeiIMaV9k5L4/Zmyb9OFr/banYUVhV74ciDCWpKjJC+vpMmTJsJ/ZPDGFCUUzErKEeCQnHXck5/0W+GeOKRZVzgdrfmid44Sg8375bt83XEXyZyOuSC3NhO6XcpbwmQZbnvwwgD1g77KsvbC/9vckdXjR2ZUuU+Vn8pRlZw4iJopp9sxHzd60n3qiBWjctb+S1486MIXzEjoXOFdP4t5etiY48YCfLWQoT5q0TxLxdGGzKkzJ7e4lxa6WTaH4cvzeklOFfuDtnEZ6MhniQ3aJ3X6XbIDPra4mN6HP2+e4iFYy+3ril/JaJH5IxNRhSuq554mohuDOhbo3d9E4iSVLWW/0lIYWRglQSetxrnUvoST7ng6q+h0u/zgLzJIAcJooTA191X7uvaCe5dT/QyYL9Uh2IJEoHTWOLc7D3E/NsltgXzBQ0R1WayswnGHPHqmFsb9wCJWBV7g419X7x2dRYssmSM6tpXorzxcAneBhFjb7NDryGRlrS/M56iSpQTJxje9Y+gOUzDojlVZcmCMfKmZWPGi//LmPYmo6vwBm75d3wydUegQg4bF6kxOZ82D+QfyAny36a6lm0KW/C7qcYF7ukJVsrR6bnokJN5skjqPDDyWfAUftpwcuTcHMUo5KEv247oSJSGzfYYRl8hxceIpc8sNd4atLzaXbpX7Fv9ufV1mpiaZNZIpaVPIjh3TXtb7iei+hkUuYYMdQV9R7cv0OTGApO0SbvKLJR5T9O0Bhr71PQhYeudok4kHKkr4s8tTYAIYQMeAZAGG90QoLmhTtOnizZkL1FkgrUz4qUmqYsqDvr+ZrsekwoBwcEC0IFPJ256DQxnjuupnn75cKAkRKQ0tLirWL49Gj+6acKhE0COTerG8PDXTPr/wB/Qjp/rpERzCOqYFR0A4CYoaM0thLPfnZy7Dcq36QBebR3ntlMlLfEiGicKsZ+imxiTPZW+a+d6ug/kABNWTkE27bSHQSpPQAj5iBqVmn7iLrwSHyFavWEzbVZGJhnmCdZv+YqS9it5olRIY+DWlyD4BcyYqJCZ9fhpIaVHAqrdh3KjyRptAi97MMN1hdxu58+JQq0Dwjyxi6H0HeqNTCI8o6Gbz2nrjmj7vpF5cKzsP6+RkObyO/4mztXtDUGl9FW07rmcnEL4gAg/soZoCAnJBVyh1DmqBdw2nOUxouBNlv7S+fjYNmkaNvSJ4dllWlIBofNgG8/u6ozN7zwEez1llCyjbevK3910ARHbNuyp1cMj0gBq+T604/IicaPdhkXoSIkEj5W0jLrAx7fWAVxOqj6+yL65TX3vmJI+cpsxQ1bBj+F3r6k9rKhY4wfzKKQWBaQVtOKW2pLbL9ikJJZB9SCuXc/9QyWv1IHV+3ZqGElr45B700oHsKBK1QGCBw+iU391jr8uufNZ+y19Z8FPMSAIPVhIxGtZKoRvJBpKkBmRwTHySPPrSPDsHSQ8Lnhn4w/MvHThwM4mIetdqdQTvyTao0/sUJQj3gArlF3O+00gzCK/5D2a9bj3RMv02ysH+mR1Oq8cZ6XqM5wbSySsxxlyIMs3JnQBjzgy3KFi5dACYsNn35OFZ/j0U0DynGzAU3iycd1It7tCwV3fDcY7d+BvR4Hyc5wiSBCp2m/8UzYdlw3VkwFl2aQFImRIsqNJKAOGo8VMeBAY90qSGgYt2u2t8MoIdXvXWIobz3RdYLA+hipolqNVmwjqOc8ZUDIYfPwAcOwO9goOWFdnJlKPohOP5W365K4Aq6Qgqji8DqcaAUtUEN39xjJhgyXkYiXzXs118ILRLFzqohWBpgJfObwdD81rCLBG+JrOeJ2wtnrLudA8WCMRCIz+AW+dJKgOoQdr1ZDMYrB67GtmdZ0C7tIjJSbnYioJECTEEPd2iKPHOV/3sttPWeLsvhOexP2MQRlCHjhAzxsgAjb7y48Ue8aOHhlAHsHMorkK3eD+KO7x+KyH+gmh2DRVxSPFj//D4t4NgKRoeUKXt4RDCsRpP2qRKI2R7GYc3s0NCvInKpmbRUjb5iEe7C0GhA6RVwKxZWfsTYHvzbbmLIW3P7YYTahgEUjs2eStKrI0kNkScVGn/fwF3KpJRi+HHaiwTFoj49wZimAP5lnmpabvKc+57MRzkecbyo66CoIyZrYVC5LTHsm2qTt+3CJLCXGKunCVDN9nCJ1iCVD++JHnKOxjlb2lJ2EjakX82scIP80Y6bhPZt9imySpuWNPlvXPkfvhnj8qn0Qo1SpN2RygwGubXMFmDwZmpsJvsrSyAMCEdVMSAWCG3wrum4+mDMCLi16FF40FgkdXR0ZjiLIm4fLaV4VYfNWsDXjgztRXoC1s16rZE2ehEoPDcAjkYkYFCcaTlpe5JDyjG6amJY/LeBNbusWoc0B+iZfWLptXkv3Y4o5OZ0ieP1d5l2pgSJ/phvv8/9aT81YqHoUJ4zcBvykg=="/>
  <p:tag name="MEKKOXMLTAGS" val="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kko Graphics Presentation Template.pptx" id="{F784860D-932B-4C5D-A645-0E3B722ADAC2}" vid="{6332FCFF-3B5C-4C62-99D0-81A6FDC7EDC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igrationWizId xmlns="f252f0d0-fd33-4d0c-9344-d2a950077a40" xsi:nil="true"/>
    <MigrationWizIdPermissionLevels xmlns="f252f0d0-fd33-4d0c-9344-d2a950077a40" xsi:nil="true"/>
    <MigrationWizIdDocumentLibraryPermissions xmlns="f252f0d0-fd33-4d0c-9344-d2a950077a40" xsi:nil="true"/>
    <MigrationWizIdSecurityGroups xmlns="f252f0d0-fd33-4d0c-9344-d2a950077a40" xsi:nil="true"/>
    <MigrationWizIdPermissions xmlns="f252f0d0-fd33-4d0c-9344-d2a950077a4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1DCE0D0F7A384EA39729B3C3E1E592" ma:contentTypeVersion="18" ma:contentTypeDescription="Create a new document." ma:contentTypeScope="" ma:versionID="a6a1a80cd16e7a20aa15202249067693">
  <xsd:schema xmlns:xsd="http://www.w3.org/2001/XMLSchema" xmlns:xs="http://www.w3.org/2001/XMLSchema" xmlns:p="http://schemas.microsoft.com/office/2006/metadata/properties" xmlns:ns3="f252f0d0-fd33-4d0c-9344-d2a950077a40" xmlns:ns4="d92eb20f-d023-481b-a813-16a2e3438f72" targetNamespace="http://schemas.microsoft.com/office/2006/metadata/properties" ma:root="true" ma:fieldsID="cb3e864e5d419d881ed49dd576a89680" ns3:_="" ns4:_="">
    <xsd:import namespace="f252f0d0-fd33-4d0c-9344-d2a950077a40"/>
    <xsd:import namespace="d92eb20f-d023-481b-a813-16a2e3438f72"/>
    <xsd:element name="properties">
      <xsd:complexType>
        <xsd:sequence>
          <xsd:element name="documentManagement">
            <xsd:complexType>
              <xsd:all>
                <xsd:element ref="ns3:MigrationWizId" minOccurs="0"/>
                <xsd:element ref="ns3:MigrationWizIdPermissions" minOccurs="0"/>
                <xsd:element ref="ns3:MigrationWizIdPermissionLevels" minOccurs="0"/>
                <xsd:element ref="ns3:MigrationWizIdDocumentLibraryPermissions" minOccurs="0"/>
                <xsd:element ref="ns3:MigrationWizIdSecurityGroup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52f0d0-fd33-4d0c-9344-d2a950077a40" elementFormDefault="qualified">
    <xsd:import namespace="http://schemas.microsoft.com/office/2006/documentManagement/types"/>
    <xsd:import namespace="http://schemas.microsoft.com/office/infopath/2007/PartnerControls"/>
    <xsd:element name="MigrationWizId" ma:index="8" nillable="true" ma:displayName="MigrationWizId" ma:internalName="MigrationWizId">
      <xsd:simpleType>
        <xsd:restriction base="dms:Text"/>
      </xsd:simpleType>
    </xsd:element>
    <xsd:element name="MigrationWizIdPermissions" ma:index="9" nillable="true" ma:displayName="MigrationWizIdPermissions" ma:internalName="MigrationWizIdPermissions">
      <xsd:simpleType>
        <xsd:restriction base="dms:Text"/>
      </xsd:simpleType>
    </xsd:element>
    <xsd:element name="MigrationWizIdPermissionLevels" ma:index="10" nillable="true" ma:displayName="MigrationWizIdPermissionLevels" ma:internalName="MigrationWizIdPermissionLevels">
      <xsd:simpleType>
        <xsd:restriction base="dms:Text"/>
      </xsd:simpleType>
    </xsd:element>
    <xsd:element name="MigrationWizIdDocumentLibraryPermissions" ma:index="11" nillable="true" ma:displayName="MigrationWizIdDocumentLibraryPermissions" ma:internalName="MigrationWizIdDocumentLibraryPermissions">
      <xsd:simpleType>
        <xsd:restriction base="dms:Text"/>
      </xsd:simpleType>
    </xsd:element>
    <xsd:element name="MigrationWizIdSecurityGroups" ma:index="12" nillable="true" ma:displayName="MigrationWizIdSecurityGroups" ma:internalName="MigrationWizIdSecurityGroups">
      <xsd:simpleType>
        <xsd:restriction base="dms:Text"/>
      </xsd:simpleType>
    </xsd:element>
    <xsd:element name="MediaServiceMetadata" ma:index="1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8" nillable="true" ma:displayName="Tags" ma:internalName="MediaServiceAutoTags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  <xsd:element name="MediaServiceAutoKeyPoints" ma:index="2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2eb20f-d023-481b-a813-16a2e3438f7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C938A6D-6F5A-42A5-98C0-B80A54977D40}">
  <ds:schemaRefs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f252f0d0-fd33-4d0c-9344-d2a950077a40"/>
    <ds:schemaRef ds:uri="d92eb20f-d023-481b-a813-16a2e3438f7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913CAC9-946D-443F-93FD-8125348F173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9CBA17-54A8-400C-8413-E7985CF434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252f0d0-fd33-4d0c-9344-d2a950077a40"/>
    <ds:schemaRef ds:uri="d92eb20f-d023-481b-a813-16a2e3438f7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9638</TotalTime>
  <Words>47</Words>
  <Application>Microsoft Office PowerPoint</Application>
  <PresentationFormat>On-screen Show (4:3)</PresentationFormat>
  <Paragraphs>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Century Gothic</vt:lpstr>
      <vt:lpstr>Arial</vt:lpstr>
      <vt:lpstr>Clarity</vt:lpstr>
      <vt:lpstr>Social Media Usage Growth</vt:lpstr>
    </vt:vector>
  </TitlesOfParts>
  <Company>Mekko Graphi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Goldstein</dc:creator>
  <cp:lastModifiedBy>David Goldstein</cp:lastModifiedBy>
  <cp:revision>221</cp:revision>
  <cp:lastPrinted>2018-12-11T20:03:10Z</cp:lastPrinted>
  <dcterms:created xsi:type="dcterms:W3CDTF">2014-11-08T22:34:19Z</dcterms:created>
  <dcterms:modified xsi:type="dcterms:W3CDTF">2021-06-07T13:0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1DCE0D0F7A384EA39729B3C3E1E592</vt:lpwstr>
  </property>
</Properties>
</file>